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3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4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62" r:id="rId4"/>
    <p:sldMasterId id="2147483744" r:id="rId5"/>
    <p:sldMasterId id="2147483749" r:id="rId6"/>
    <p:sldMasterId id="2147483785" r:id="rId7"/>
    <p:sldMasterId id="2147483790" r:id="rId8"/>
  </p:sldMasterIdLst>
  <p:notesMasterIdLst>
    <p:notesMasterId r:id="rId23"/>
  </p:notesMasterIdLst>
  <p:handoutMasterIdLst>
    <p:handoutMasterId r:id="rId24"/>
  </p:handoutMasterIdLst>
  <p:sldIdLst>
    <p:sldId id="256" r:id="rId9"/>
    <p:sldId id="257" r:id="rId10"/>
    <p:sldId id="260" r:id="rId11"/>
    <p:sldId id="261" r:id="rId12"/>
    <p:sldId id="296" r:id="rId13"/>
    <p:sldId id="297" r:id="rId14"/>
    <p:sldId id="298" r:id="rId15"/>
    <p:sldId id="299" r:id="rId16"/>
    <p:sldId id="301" r:id="rId17"/>
    <p:sldId id="302" r:id="rId18"/>
    <p:sldId id="300" r:id="rId19"/>
    <p:sldId id="291" r:id="rId20"/>
    <p:sldId id="303" r:id="rId21"/>
    <p:sldId id="295" r:id="rId22"/>
  </p:sldIdLst>
  <p:sldSz cx="9906000" cy="6858000" type="A4"/>
  <p:notesSz cx="6858000" cy="9144000"/>
  <p:embeddedFontLst>
    <p:embeddedFont>
      <p:font typeface="ＭＳ Ｐゴシック" panose="020B0600070205080204" pitchFamily="34" charset="-128"/>
      <p:regular r:id="rId25"/>
    </p:embeddedFont>
    <p:embeddedFont>
      <p:font typeface="Arial Unicode MS" panose="020B0604020202020204" pitchFamily="34" charset="-128"/>
      <p:regular r:id="rId26"/>
    </p:embeddedFont>
    <p:embeddedFont>
      <p:font typeface="ING Me" panose="02000506040000020004" pitchFamily="2" charset="0"/>
      <p:regular r:id="rId27"/>
      <p:bold r:id="rId28"/>
      <p:italic r:id="rId29"/>
      <p:boldItalic r:id="rId30"/>
    </p:embeddedFont>
  </p:embeddedFontLst>
  <p:custDataLst>
    <p:tags r:id="rId3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341" userDrawn="1">
          <p15:clr>
            <a:srgbClr val="A4A3A4"/>
          </p15:clr>
        </p15:guide>
        <p15:guide id="2" orient="horz" pos="813">
          <p15:clr>
            <a:srgbClr val="A4A3A4"/>
          </p15:clr>
        </p15:guide>
        <p15:guide id="3" orient="horz" pos="725">
          <p15:clr>
            <a:srgbClr val="A4A3A4"/>
          </p15:clr>
        </p15:guide>
        <p15:guide id="4" orient="horz" pos="181">
          <p15:clr>
            <a:srgbClr val="A4A3A4"/>
          </p15:clr>
        </p15:guide>
        <p15:guide id="5" orient="horz" pos="3917">
          <p15:clr>
            <a:srgbClr val="A4A3A4"/>
          </p15:clr>
        </p15:guide>
        <p15:guide id="6" pos="3840">
          <p15:clr>
            <a:srgbClr val="A4A3A4"/>
          </p15:clr>
        </p15:guide>
        <p15:guide id="7" pos="7160">
          <p15:clr>
            <a:srgbClr val="A4A3A4"/>
          </p15:clr>
        </p15:guide>
        <p15:guide id="8" pos="544">
          <p15:clr>
            <a:srgbClr val="A4A3A4"/>
          </p15:clr>
        </p15:guide>
        <p15:guide id="9" pos="7509">
          <p15:clr>
            <a:srgbClr val="A4A3A4"/>
          </p15:clr>
        </p15:guide>
        <p15:guide id="10" pos="449">
          <p15:clr>
            <a:srgbClr val="A4A3A4"/>
          </p15:clr>
        </p15:guide>
        <p15:guide id="11" pos="3726">
          <p15:clr>
            <a:srgbClr val="A4A3A4"/>
          </p15:clr>
        </p15:guide>
        <p15:guide id="12" pos="396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49651"/>
    <a:srgbClr val="E9E9E9"/>
    <a:srgbClr val="FF6200"/>
    <a:srgbClr val="FDFDFD"/>
    <a:srgbClr val="C90068"/>
    <a:srgbClr val="17A7DC"/>
    <a:srgbClr val="A8A8A8"/>
    <a:srgbClr val="CFDA1E"/>
    <a:srgbClr val="53509E"/>
    <a:srgbClr val="00974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236" autoAdjust="0"/>
    <p:restoredTop sz="90698" autoAdjust="0"/>
  </p:normalViewPr>
  <p:slideViewPr>
    <p:cSldViewPr snapToGrid="0" showGuides="1">
      <p:cViewPr>
        <p:scale>
          <a:sx n="125" d="100"/>
          <a:sy n="125" d="100"/>
        </p:scale>
        <p:origin x="-990" y="18"/>
      </p:cViewPr>
      <p:guideLst>
        <p:guide orient="horz" pos="2341"/>
        <p:guide orient="horz" pos="813"/>
        <p:guide orient="horz" pos="725"/>
        <p:guide orient="horz" pos="181"/>
        <p:guide orient="horz" pos="3917"/>
        <p:guide pos="3120"/>
        <p:guide pos="5818"/>
        <p:guide pos="442"/>
        <p:guide pos="6101"/>
        <p:guide pos="365"/>
        <p:guide pos="3027"/>
        <p:guide pos="3219"/>
      </p:guideLst>
    </p:cSldViewPr>
  </p:slideViewPr>
  <p:outlineViewPr>
    <p:cViewPr>
      <p:scale>
        <a:sx n="33" d="100"/>
        <a:sy n="33" d="100"/>
      </p:scale>
      <p:origin x="0" y="-31278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60" d="100"/>
        <a:sy n="60" d="100"/>
      </p:scale>
      <p:origin x="0" y="3414"/>
    </p:cViewPr>
  </p:sorterViewPr>
  <p:notesViewPr>
    <p:cSldViewPr snapToGrid="0" showGuides="1">
      <p:cViewPr varScale="1">
        <p:scale>
          <a:sx n="95" d="100"/>
          <a:sy n="95" d="100"/>
        </p:scale>
        <p:origin x="2664" y="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font" Target="fonts/font2.fntdata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font" Target="fonts/font1.fntdata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font" Target="fonts/font5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handoutMaster" Target="handoutMasters/handoutMaster1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notesMaster" Target="notesMasters/notesMaster1.xml"/><Relationship Id="rId28" Type="http://schemas.openxmlformats.org/officeDocument/2006/relationships/font" Target="fonts/font4.fntdata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font" Target="fonts/font3.fntdata"/><Relationship Id="rId30" Type="http://schemas.openxmlformats.org/officeDocument/2006/relationships/font" Target="fonts/font6.fntdata"/><Relationship Id="rId3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>
              <a:latin typeface="ING Me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9DD6AA-DA07-4B49-84C4-DD15DC5E0A8E}" type="datetimeFigureOut">
              <a:rPr lang="en-GB" smtClean="0">
                <a:latin typeface="ING Me" pitchFamily="2" charset="0"/>
              </a:rPr>
              <a:t>30/05/2016</a:t>
            </a:fld>
            <a:endParaRPr lang="en-GB">
              <a:latin typeface="ING Me" pitchFamily="2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>
              <a:latin typeface="ING M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52732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-1" y="0"/>
            <a:ext cx="5651999" cy="324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778000" y="0"/>
            <a:ext cx="1080000" cy="324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latin typeface="+mn-lt"/>
              </a:defRPr>
            </a:lvl1pPr>
          </a:lstStyle>
          <a:p>
            <a:fld id="{B6962210-35F6-42EB-A3B8-FCE6E13B30BA}" type="datetimeFigureOut">
              <a:rPr lang="en-GB" smtClean="0"/>
              <a:pPr/>
              <a:t>30/05/201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6858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3943349"/>
            <a:ext cx="5486400" cy="4741863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-1" y="8856661"/>
            <a:ext cx="5652000" cy="252000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l">
              <a:defRPr sz="100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778000" y="8856661"/>
            <a:ext cx="1080000" cy="252000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1000">
                <a:latin typeface="+mn-lt"/>
              </a:defRPr>
            </a:lvl1pPr>
          </a:lstStyle>
          <a:p>
            <a:fld id="{E762DFE1-544E-4AD0-8AE2-9ADF9877B11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83378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lnSpc>
        <a:spcPct val="110000"/>
      </a:lnSpc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174625" indent="-174625" algn="l" defTabSz="914400" rtl="0" eaLnBrk="1" latinLnBrk="0" hangingPunct="1">
      <a:lnSpc>
        <a:spcPct val="110000"/>
      </a:lnSpc>
      <a:buFont typeface="ING Me" pitchFamily="2" charset="0"/>
      <a:buChar char="•"/>
      <a:defRPr sz="1000" kern="1200">
        <a:solidFill>
          <a:schemeClr val="tx1"/>
        </a:solidFill>
        <a:latin typeface="ING Me" pitchFamily="2" charset="0"/>
        <a:ea typeface="+mn-ea"/>
        <a:cs typeface="+mn-cs"/>
      </a:defRPr>
    </a:lvl2pPr>
    <a:lvl3pPr marL="360363" indent="-174625" algn="l" defTabSz="914400" rtl="0" eaLnBrk="1" latinLnBrk="0" hangingPunct="1">
      <a:lnSpc>
        <a:spcPct val="110000"/>
      </a:lnSpc>
      <a:buFont typeface="ING Me" pitchFamily="2" charset="0"/>
      <a:buChar char="•"/>
      <a:defRPr sz="1000" kern="1200">
        <a:solidFill>
          <a:schemeClr val="tx1"/>
        </a:solidFill>
        <a:latin typeface="ING Me" pitchFamily="2" charset="0"/>
        <a:ea typeface="+mn-ea"/>
        <a:cs typeface="+mn-cs"/>
      </a:defRPr>
    </a:lvl3pPr>
    <a:lvl4pPr marL="534988" indent="-174625" algn="l" defTabSz="914400" rtl="0" eaLnBrk="1" latinLnBrk="0" hangingPunct="1">
      <a:lnSpc>
        <a:spcPct val="110000"/>
      </a:lnSpc>
      <a:buFont typeface="ING Me" pitchFamily="2" charset="0"/>
      <a:buChar char="•"/>
      <a:defRPr sz="1000" kern="1200">
        <a:solidFill>
          <a:schemeClr val="tx1"/>
        </a:solidFill>
        <a:latin typeface="ING Me" pitchFamily="2" charset="0"/>
        <a:ea typeface="+mn-ea"/>
        <a:cs typeface="+mn-cs"/>
      </a:defRPr>
    </a:lvl4pPr>
    <a:lvl5pPr marL="719138" indent="-174625" algn="l" defTabSz="914400" rtl="0" eaLnBrk="1" latinLnBrk="0" hangingPunct="1">
      <a:lnSpc>
        <a:spcPct val="110000"/>
      </a:lnSpc>
      <a:buFont typeface="ING Me" pitchFamily="2" charset="0"/>
      <a:buChar char="•"/>
      <a:defRPr sz="1000" kern="1200">
        <a:solidFill>
          <a:schemeClr val="tx1"/>
        </a:solidFill>
        <a:latin typeface="ING Me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7.png"/><Relationship Id="rId2" Type="http://schemas.openxmlformats.org/officeDocument/2006/relationships/tags" Target="../tags/tag3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.emf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45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4"/>
            <a:ext cx="1784250" cy="1318571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/>
              <a:t>Max.</a:t>
            </a:r>
            <a:r>
              <a:rPr lang="en-GB" sz="1000" baseline="0" smtClean="0"/>
              <a:t> width</a:t>
            </a:r>
            <a:endParaRPr lang="en-GB" sz="1000" smtClean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in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 userDrawn="1"/>
        </p:nvSpPr>
        <p:spPr>
          <a:xfrm>
            <a:off x="-1224174" y="5297121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ax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grpSp>
        <p:nvGrpSpPr>
          <p:cNvPr id="53" name="Group 52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4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5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6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7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9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5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6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8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0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2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4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68682579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oup 73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75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Freeform 75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9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681038" y="6291860"/>
            <a:ext cx="1784250" cy="287825"/>
          </a:xfrm>
          <a:prstGeom prst="rect">
            <a:avLst/>
          </a:prstGeom>
        </p:spPr>
      </p:pic>
      <p:grpSp>
        <p:nvGrpSpPr>
          <p:cNvPr id="42" name="Group 41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38" name="Picture Placeholder 37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749068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lit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5099859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5099859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5099859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5099859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19" name="Straight Connector 18"/>
          <p:cNvCxnSpPr/>
          <p:nvPr userDrawn="1"/>
        </p:nvCxnSpPr>
        <p:spPr bwMode="gray">
          <a:xfrm>
            <a:off x="5099859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 bwMode="gray">
          <a:xfrm>
            <a:off x="5099859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811359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2" pos="3720" userDrawn="1">
          <p15:clr>
            <a:srgbClr val="FBAE40"/>
          </p15:clr>
        </p15:guide>
        <p15:guide id="3" pos="3953" userDrawn="1">
          <p15:clr>
            <a:srgbClr val="FBAE40"/>
          </p15:clr>
        </p15:guide>
        <p15:guide id="4" orient="horz" pos="2274" userDrawn="1">
          <p15:clr>
            <a:srgbClr val="FBAE40"/>
          </p15:clr>
        </p15:guide>
        <p15:guide id="5" orient="horz" pos="2442" userDrawn="1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7279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6556509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1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556509" y="1757279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556509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3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556509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44" name="Straight Connector 43"/>
          <p:cNvCxnSpPr/>
          <p:nvPr userDrawn="1"/>
        </p:nvCxnSpPr>
        <p:spPr bwMode="gray">
          <a:xfrm>
            <a:off x="6556509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 bwMode="gray">
          <a:xfrm>
            <a:off x="6556509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3621769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7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3621769" y="1757279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8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3621769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9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3621769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0" name="Straight Connector 49"/>
          <p:cNvCxnSpPr/>
          <p:nvPr userDrawn="1"/>
        </p:nvCxnSpPr>
        <p:spPr bwMode="gray">
          <a:xfrm>
            <a:off x="3621769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 bwMode="gray">
          <a:xfrm>
            <a:off x="3621769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12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67567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2" pos="2592" userDrawn="1">
          <p15:clr>
            <a:srgbClr val="FBAE40"/>
          </p15:clr>
        </p15:guide>
        <p15:guide id="3" pos="5082" userDrawn="1">
          <p15:clr>
            <a:srgbClr val="FBAE40"/>
          </p15:clr>
        </p15:guide>
        <p15:guide id="4" pos="2803" userDrawn="1">
          <p15:clr>
            <a:srgbClr val="FBAE40"/>
          </p15:clr>
        </p15:guide>
        <p15:guide id="5" pos="4866" userDrawn="1">
          <p15:clr>
            <a:srgbClr val="FBAE40"/>
          </p15:clr>
        </p15:guide>
        <p15:guide id="6" orient="horz" pos="2274" userDrawn="1">
          <p15:clr>
            <a:srgbClr val="FBAE40"/>
          </p15:clr>
        </p15:guide>
        <p15:guide id="7" orient="horz" pos="2442" userDrawn="1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29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29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29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29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29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29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835597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2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2835597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3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2835597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4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2835597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5" name="Straight Connector 54"/>
          <p:cNvCxnSpPr/>
          <p:nvPr userDrawn="1"/>
        </p:nvCxnSpPr>
        <p:spPr bwMode="gray">
          <a:xfrm>
            <a:off x="2835597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 userDrawn="1"/>
        </p:nvCxnSpPr>
        <p:spPr bwMode="gray">
          <a:xfrm>
            <a:off x="2835597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4984166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8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4984166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9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4984166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0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4984166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1" name="Straight Connector 60"/>
          <p:cNvCxnSpPr/>
          <p:nvPr userDrawn="1"/>
        </p:nvCxnSpPr>
        <p:spPr bwMode="gray">
          <a:xfrm>
            <a:off x="4984166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 userDrawn="1"/>
        </p:nvCxnSpPr>
        <p:spPr bwMode="gray">
          <a:xfrm>
            <a:off x="4984166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Content Placeholder 2"/>
          <p:cNvSpPr>
            <a:spLocks noGrp="1"/>
          </p:cNvSpPr>
          <p:nvPr>
            <p:ph idx="30" hasCustomPrompt="1"/>
          </p:nvPr>
        </p:nvSpPr>
        <p:spPr bwMode="gray">
          <a:xfrm>
            <a:off x="7132734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4" name="Content Placeholder 2"/>
          <p:cNvSpPr>
            <a:spLocks noGrp="1"/>
          </p:cNvSpPr>
          <p:nvPr>
            <p:ph idx="31" hasCustomPrompt="1"/>
          </p:nvPr>
        </p:nvSpPr>
        <p:spPr bwMode="gray">
          <a:xfrm>
            <a:off x="7132734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65" name="Content Placeholder 2"/>
          <p:cNvSpPr>
            <a:spLocks noGrp="1"/>
          </p:cNvSpPr>
          <p:nvPr>
            <p:ph idx="32" hasCustomPrompt="1"/>
          </p:nvPr>
        </p:nvSpPr>
        <p:spPr bwMode="gray">
          <a:xfrm>
            <a:off x="7132734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6" name="Content Placeholder 2"/>
          <p:cNvSpPr>
            <a:spLocks noGrp="1"/>
          </p:cNvSpPr>
          <p:nvPr>
            <p:ph idx="33" hasCustomPrompt="1"/>
          </p:nvPr>
        </p:nvSpPr>
        <p:spPr bwMode="gray">
          <a:xfrm>
            <a:off x="7132734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7" name="Straight Connector 66"/>
          <p:cNvCxnSpPr/>
          <p:nvPr userDrawn="1"/>
        </p:nvCxnSpPr>
        <p:spPr bwMode="gray">
          <a:xfrm>
            <a:off x="7132734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 userDrawn="1"/>
        </p:nvCxnSpPr>
        <p:spPr bwMode="gray">
          <a:xfrm>
            <a:off x="7132734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683878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2" pos="2149" userDrawn="1">
          <p15:clr>
            <a:srgbClr val="FBAE40"/>
          </p15:clr>
        </p15:guide>
        <p15:guide id="4" pos="5480" userDrawn="1">
          <p15:clr>
            <a:srgbClr val="FBAE40"/>
          </p15:clr>
        </p15:guide>
        <p15:guide id="5" pos="3864" userDrawn="1">
          <p15:clr>
            <a:srgbClr val="FBAE40"/>
          </p15:clr>
        </p15:guide>
        <p15:guide id="6" pos="2196" userDrawn="1">
          <p15:clr>
            <a:srgbClr val="FBAE40"/>
          </p15:clr>
        </p15:guide>
        <p15:guide id="7" pos="3809" userDrawn="1">
          <p15:clr>
            <a:srgbClr val="FBAE40"/>
          </p15:clr>
        </p15:guide>
        <p15:guide id="8" pos="5528" userDrawn="1">
          <p15:clr>
            <a:srgbClr val="FBAE40"/>
          </p15:clr>
        </p15:guide>
        <p15:guide id="9" orient="horz" pos="2274" userDrawn="1">
          <p15:clr>
            <a:srgbClr val="FBAE40"/>
          </p15:clr>
        </p15:guide>
        <p15:guide id="10" orient="horz" pos="2442" userDrawn="1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3694866" y="1270000"/>
            <a:ext cx="5514620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6"/>
          </p:nvPr>
        </p:nvSpPr>
        <p:spPr bwMode="gray">
          <a:xfrm>
            <a:off x="563663" y="280732"/>
            <a:ext cx="2797671" cy="5920066"/>
          </a:xfrm>
          <a:custGeom>
            <a:avLst/>
            <a:gdLst>
              <a:gd name="connsiteX0" fmla="*/ 95997 w 3443287"/>
              <a:gd name="connsiteY0" fmla="*/ 0 h 5920066"/>
              <a:gd name="connsiteX1" fmla="*/ 3443287 w 3443287"/>
              <a:gd name="connsiteY1" fmla="*/ 0 h 5920066"/>
              <a:gd name="connsiteX2" fmla="*/ 3443287 w 3443287"/>
              <a:gd name="connsiteY2" fmla="*/ 5920066 h 5920066"/>
              <a:gd name="connsiteX3" fmla="*/ 95989 w 3443287"/>
              <a:gd name="connsiteY3" fmla="*/ 5920066 h 5920066"/>
              <a:gd name="connsiteX4" fmla="*/ 64311 w 3443287"/>
              <a:gd name="connsiteY4" fmla="*/ 5915938 h 5920066"/>
              <a:gd name="connsiteX5" fmla="*/ 0 w 3443287"/>
              <a:gd name="connsiteY5" fmla="*/ 5823957 h 5920066"/>
              <a:gd name="connsiteX6" fmla="*/ 0 w 3443287"/>
              <a:gd name="connsiteY6" fmla="*/ 5820222 h 5920066"/>
              <a:gd name="connsiteX7" fmla="*/ 0 w 3443287"/>
              <a:gd name="connsiteY7" fmla="*/ 5811351 h 5920066"/>
              <a:gd name="connsiteX8" fmla="*/ 0 w 3443287"/>
              <a:gd name="connsiteY8" fmla="*/ 5794075 h 5920066"/>
              <a:gd name="connsiteX9" fmla="*/ 0 w 3443287"/>
              <a:gd name="connsiteY9" fmla="*/ 5765594 h 5920066"/>
              <a:gd name="connsiteX10" fmla="*/ 0 w 3443287"/>
              <a:gd name="connsiteY10" fmla="*/ 5723106 h 5920066"/>
              <a:gd name="connsiteX11" fmla="*/ 0 w 3443287"/>
              <a:gd name="connsiteY11" fmla="*/ 5663809 h 5920066"/>
              <a:gd name="connsiteX12" fmla="*/ 0 w 3443287"/>
              <a:gd name="connsiteY12" fmla="*/ 5584902 h 5920066"/>
              <a:gd name="connsiteX13" fmla="*/ 0 w 3443287"/>
              <a:gd name="connsiteY13" fmla="*/ 5549717 h 5920066"/>
              <a:gd name="connsiteX14" fmla="*/ 0 w 3443287"/>
              <a:gd name="connsiteY14" fmla="*/ 5548611 h 5920066"/>
              <a:gd name="connsiteX15" fmla="*/ 0 w 3443287"/>
              <a:gd name="connsiteY15" fmla="*/ 5540863 h 5920066"/>
              <a:gd name="connsiteX16" fmla="*/ 0 w 3443287"/>
              <a:gd name="connsiteY16" fmla="*/ 5520020 h 5920066"/>
              <a:gd name="connsiteX17" fmla="*/ 0 w 3443287"/>
              <a:gd name="connsiteY17" fmla="*/ 5519835 h 5920066"/>
              <a:gd name="connsiteX18" fmla="*/ 0 w 3443287"/>
              <a:gd name="connsiteY18" fmla="*/ 5478886 h 5920066"/>
              <a:gd name="connsiteX19" fmla="*/ 0 w 3443287"/>
              <a:gd name="connsiteY19" fmla="*/ 5448866 h 5920066"/>
              <a:gd name="connsiteX20" fmla="*/ 0 w 3443287"/>
              <a:gd name="connsiteY20" fmla="*/ 5444347 h 5920066"/>
              <a:gd name="connsiteX21" fmla="*/ 0 w 3443287"/>
              <a:gd name="connsiteY21" fmla="*/ 5411375 h 5920066"/>
              <a:gd name="connsiteX22" fmla="*/ 0 w 3443287"/>
              <a:gd name="connsiteY22" fmla="*/ 5365584 h 5920066"/>
              <a:gd name="connsiteX23" fmla="*/ 0 w 3443287"/>
              <a:gd name="connsiteY23" fmla="*/ 5357053 h 5920066"/>
              <a:gd name="connsiteX24" fmla="*/ 0 w 3443287"/>
              <a:gd name="connsiteY24" fmla="*/ 5310662 h 5920066"/>
              <a:gd name="connsiteX25" fmla="*/ 0 w 3443287"/>
              <a:gd name="connsiteY25" fmla="*/ 5257308 h 5920066"/>
              <a:gd name="connsiteX26" fmla="*/ 0 w 3443287"/>
              <a:gd name="connsiteY26" fmla="*/ 5245780 h 5920066"/>
              <a:gd name="connsiteX27" fmla="*/ 0 w 3443287"/>
              <a:gd name="connsiteY27" fmla="*/ 5170107 h 5920066"/>
              <a:gd name="connsiteX28" fmla="*/ 0 w 3443287"/>
              <a:gd name="connsiteY28" fmla="*/ 5144283 h 5920066"/>
              <a:gd name="connsiteX29" fmla="*/ 0 w 3443287"/>
              <a:gd name="connsiteY29" fmla="*/ 5082813 h 5920066"/>
              <a:gd name="connsiteX30" fmla="*/ 0 w 3443287"/>
              <a:gd name="connsiteY30" fmla="*/ 5017146 h 5920066"/>
              <a:gd name="connsiteX31" fmla="*/ 0 w 3443287"/>
              <a:gd name="connsiteY31" fmla="*/ 4983068 h 5920066"/>
              <a:gd name="connsiteX32" fmla="*/ 0 w 3443287"/>
              <a:gd name="connsiteY32" fmla="*/ 4903543 h 5920066"/>
              <a:gd name="connsiteX33" fmla="*/ 0 w 3443287"/>
              <a:gd name="connsiteY33" fmla="*/ 4899808 h 5920066"/>
              <a:gd name="connsiteX34" fmla="*/ 0 w 3443287"/>
              <a:gd name="connsiteY34" fmla="*/ 4890937 h 5920066"/>
              <a:gd name="connsiteX35" fmla="*/ 0 w 3443287"/>
              <a:gd name="connsiteY35" fmla="*/ 4875069 h 5920066"/>
              <a:gd name="connsiteX36" fmla="*/ 0 w 3443287"/>
              <a:gd name="connsiteY36" fmla="*/ 4873661 h 5920066"/>
              <a:gd name="connsiteX37" fmla="*/ 0 w 3443287"/>
              <a:gd name="connsiteY37" fmla="*/ 4870043 h 5920066"/>
              <a:gd name="connsiteX38" fmla="*/ 0 w 3443287"/>
              <a:gd name="connsiteY38" fmla="*/ 4845180 h 5920066"/>
              <a:gd name="connsiteX39" fmla="*/ 0 w 3443287"/>
              <a:gd name="connsiteY39" fmla="*/ 4802692 h 5920066"/>
              <a:gd name="connsiteX40" fmla="*/ 0 w 3443287"/>
              <a:gd name="connsiteY40" fmla="*/ 4743395 h 5920066"/>
              <a:gd name="connsiteX41" fmla="*/ 0 w 3443287"/>
              <a:gd name="connsiteY41" fmla="*/ 4742906 h 5920066"/>
              <a:gd name="connsiteX42" fmla="*/ 0 w 3443287"/>
              <a:gd name="connsiteY42" fmla="*/ 4717221 h 5920066"/>
              <a:gd name="connsiteX43" fmla="*/ 0 w 3443287"/>
              <a:gd name="connsiteY43" fmla="*/ 4664488 h 5920066"/>
              <a:gd name="connsiteX44" fmla="*/ 0 w 3443287"/>
              <a:gd name="connsiteY44" fmla="*/ 4629303 h 5920066"/>
              <a:gd name="connsiteX45" fmla="*/ 0 w 3443287"/>
              <a:gd name="connsiteY45" fmla="*/ 4628197 h 5920066"/>
              <a:gd name="connsiteX46" fmla="*/ 0 w 3443287"/>
              <a:gd name="connsiteY46" fmla="*/ 4620449 h 5920066"/>
              <a:gd name="connsiteX47" fmla="*/ 0 w 3443287"/>
              <a:gd name="connsiteY47" fmla="*/ 4600829 h 5920066"/>
              <a:gd name="connsiteX48" fmla="*/ 0 w 3443287"/>
              <a:gd name="connsiteY48" fmla="*/ 4599606 h 5920066"/>
              <a:gd name="connsiteX49" fmla="*/ 0 w 3443287"/>
              <a:gd name="connsiteY49" fmla="*/ 4599421 h 5920066"/>
              <a:gd name="connsiteX50" fmla="*/ 0 w 3443287"/>
              <a:gd name="connsiteY50" fmla="*/ 4558472 h 5920066"/>
              <a:gd name="connsiteX51" fmla="*/ 0 w 3443287"/>
              <a:gd name="connsiteY51" fmla="*/ 4542771 h 5920066"/>
              <a:gd name="connsiteX52" fmla="*/ 0 w 3443287"/>
              <a:gd name="connsiteY52" fmla="*/ 4528452 h 5920066"/>
              <a:gd name="connsiteX53" fmla="*/ 0 w 3443287"/>
              <a:gd name="connsiteY53" fmla="*/ 4523933 h 5920066"/>
              <a:gd name="connsiteX54" fmla="*/ 0 w 3443287"/>
              <a:gd name="connsiteY54" fmla="*/ 4490961 h 5920066"/>
              <a:gd name="connsiteX55" fmla="*/ 0 w 3443287"/>
              <a:gd name="connsiteY55" fmla="*/ 4445170 h 5920066"/>
              <a:gd name="connsiteX56" fmla="*/ 0 w 3443287"/>
              <a:gd name="connsiteY56" fmla="*/ 4442981 h 5920066"/>
              <a:gd name="connsiteX57" fmla="*/ 0 w 3443287"/>
              <a:gd name="connsiteY57" fmla="*/ 4436639 h 5920066"/>
              <a:gd name="connsiteX58" fmla="*/ 0 w 3443287"/>
              <a:gd name="connsiteY58" fmla="*/ 4390248 h 5920066"/>
              <a:gd name="connsiteX59" fmla="*/ 0 w 3443287"/>
              <a:gd name="connsiteY59" fmla="*/ 4350891 h 5920066"/>
              <a:gd name="connsiteX60" fmla="*/ 0 w 3443287"/>
              <a:gd name="connsiteY60" fmla="*/ 4336894 h 5920066"/>
              <a:gd name="connsiteX61" fmla="*/ 0 w 3443287"/>
              <a:gd name="connsiteY61" fmla="*/ 4325366 h 5920066"/>
              <a:gd name="connsiteX62" fmla="*/ 0 w 3443287"/>
              <a:gd name="connsiteY62" fmla="*/ 4268531 h 5920066"/>
              <a:gd name="connsiteX63" fmla="*/ 0 w 3443287"/>
              <a:gd name="connsiteY63" fmla="*/ 4249693 h 5920066"/>
              <a:gd name="connsiteX64" fmla="*/ 0 w 3443287"/>
              <a:gd name="connsiteY64" fmla="*/ 4223869 h 5920066"/>
              <a:gd name="connsiteX65" fmla="*/ 0 w 3443287"/>
              <a:gd name="connsiteY65" fmla="*/ 4162399 h 5920066"/>
              <a:gd name="connsiteX66" fmla="*/ 0 w 3443287"/>
              <a:gd name="connsiteY66" fmla="*/ 4140749 h 5920066"/>
              <a:gd name="connsiteX67" fmla="*/ 0 w 3443287"/>
              <a:gd name="connsiteY67" fmla="*/ 4096732 h 5920066"/>
              <a:gd name="connsiteX68" fmla="*/ 0 w 3443287"/>
              <a:gd name="connsiteY68" fmla="*/ 4076651 h 5920066"/>
              <a:gd name="connsiteX69" fmla="*/ 0 w 3443287"/>
              <a:gd name="connsiteY69" fmla="*/ 4062654 h 5920066"/>
              <a:gd name="connsiteX70" fmla="*/ 0 w 3443287"/>
              <a:gd name="connsiteY70" fmla="*/ 3954655 h 5920066"/>
              <a:gd name="connsiteX71" fmla="*/ 0 w 3443287"/>
              <a:gd name="connsiteY71" fmla="*/ 3949629 h 5920066"/>
              <a:gd name="connsiteX72" fmla="*/ 0 w 3443287"/>
              <a:gd name="connsiteY72" fmla="*/ 3911516 h 5920066"/>
              <a:gd name="connsiteX73" fmla="*/ 0 w 3443287"/>
              <a:gd name="connsiteY73" fmla="*/ 3866509 h 5920066"/>
              <a:gd name="connsiteX74" fmla="*/ 0 w 3443287"/>
              <a:gd name="connsiteY74" fmla="*/ 3822492 h 5920066"/>
              <a:gd name="connsiteX75" fmla="*/ 0 w 3443287"/>
              <a:gd name="connsiteY75" fmla="*/ 3796807 h 5920066"/>
              <a:gd name="connsiteX76" fmla="*/ 0 w 3443287"/>
              <a:gd name="connsiteY76" fmla="*/ 3680415 h 5920066"/>
              <a:gd name="connsiteX77" fmla="*/ 0 w 3443287"/>
              <a:gd name="connsiteY77" fmla="*/ 3662362 h 5920066"/>
              <a:gd name="connsiteX78" fmla="*/ 0 w 3443287"/>
              <a:gd name="connsiteY78" fmla="*/ 3637276 h 5920066"/>
              <a:gd name="connsiteX79" fmla="*/ 0 w 3443287"/>
              <a:gd name="connsiteY79" fmla="*/ 3622357 h 5920066"/>
              <a:gd name="connsiteX80" fmla="*/ 0 w 3443287"/>
              <a:gd name="connsiteY80" fmla="*/ 3522567 h 5920066"/>
              <a:gd name="connsiteX81" fmla="*/ 0 w 3443287"/>
              <a:gd name="connsiteY81" fmla="*/ 3430477 h 5920066"/>
              <a:gd name="connsiteX82" fmla="*/ 0 w 3443287"/>
              <a:gd name="connsiteY82" fmla="*/ 3392457 h 5920066"/>
              <a:gd name="connsiteX83" fmla="*/ 0 w 3443287"/>
              <a:gd name="connsiteY83" fmla="*/ 3388122 h 5920066"/>
              <a:gd name="connsiteX84" fmla="*/ 0 w 3443287"/>
              <a:gd name="connsiteY84" fmla="*/ 3348117 h 5920066"/>
              <a:gd name="connsiteX85" fmla="*/ 0 w 3443287"/>
              <a:gd name="connsiteY85" fmla="*/ 3220335 h 5920066"/>
              <a:gd name="connsiteX86" fmla="*/ 0 w 3443287"/>
              <a:gd name="connsiteY86" fmla="*/ 3156237 h 5920066"/>
              <a:gd name="connsiteX87" fmla="*/ 0 w 3443287"/>
              <a:gd name="connsiteY87" fmla="*/ 3118217 h 5920066"/>
              <a:gd name="connsiteX88" fmla="*/ 0 w 3443287"/>
              <a:gd name="connsiteY88" fmla="*/ 3100970 h 5920066"/>
              <a:gd name="connsiteX89" fmla="*/ 0 w 3443287"/>
              <a:gd name="connsiteY89" fmla="*/ 2991102 h 5920066"/>
              <a:gd name="connsiteX90" fmla="*/ 0 w 3443287"/>
              <a:gd name="connsiteY90" fmla="*/ 2946095 h 5920066"/>
              <a:gd name="connsiteX91" fmla="*/ 0 w 3443287"/>
              <a:gd name="connsiteY91" fmla="*/ 2826730 h 5920066"/>
              <a:gd name="connsiteX92" fmla="*/ 0 w 3443287"/>
              <a:gd name="connsiteY92" fmla="*/ 2787072 h 5920066"/>
              <a:gd name="connsiteX93" fmla="*/ 0 w 3443287"/>
              <a:gd name="connsiteY93" fmla="*/ 2741948 h 5920066"/>
              <a:gd name="connsiteX94" fmla="*/ 0 w 3443287"/>
              <a:gd name="connsiteY94" fmla="*/ 2716862 h 5920066"/>
              <a:gd name="connsiteX95" fmla="*/ 0 w 3443287"/>
              <a:gd name="connsiteY95" fmla="*/ 2512832 h 5920066"/>
              <a:gd name="connsiteX96" fmla="*/ 0 w 3443287"/>
              <a:gd name="connsiteY96" fmla="*/ 2472043 h 5920066"/>
              <a:gd name="connsiteX97" fmla="*/ 0 w 3443287"/>
              <a:gd name="connsiteY97" fmla="*/ 2467708 h 5920066"/>
              <a:gd name="connsiteX98" fmla="*/ 0 w 3443287"/>
              <a:gd name="connsiteY98" fmla="*/ 2449933 h 5920066"/>
              <a:gd name="connsiteX99" fmla="*/ 0 w 3443287"/>
              <a:gd name="connsiteY99" fmla="*/ 2197803 h 5920066"/>
              <a:gd name="connsiteX100" fmla="*/ 0 w 3443287"/>
              <a:gd name="connsiteY100" fmla="*/ 2180556 h 5920066"/>
              <a:gd name="connsiteX101" fmla="*/ 0 w 3443287"/>
              <a:gd name="connsiteY101" fmla="*/ 2175692 h 5920066"/>
              <a:gd name="connsiteX102" fmla="*/ 0 w 3443287"/>
              <a:gd name="connsiteY102" fmla="*/ 2088721 h 5920066"/>
              <a:gd name="connsiteX103" fmla="*/ 0 w 3443287"/>
              <a:gd name="connsiteY103" fmla="*/ 1906316 h 5920066"/>
              <a:gd name="connsiteX104" fmla="*/ 0 w 3443287"/>
              <a:gd name="connsiteY104" fmla="*/ 1866658 h 5920066"/>
              <a:gd name="connsiteX105" fmla="*/ 0 w 3443287"/>
              <a:gd name="connsiteY105" fmla="*/ 1814481 h 5920066"/>
              <a:gd name="connsiteX106" fmla="*/ 0 w 3443287"/>
              <a:gd name="connsiteY106" fmla="*/ 1702609 h 5920066"/>
              <a:gd name="connsiteX107" fmla="*/ 0 w 3443287"/>
              <a:gd name="connsiteY107" fmla="*/ 1592418 h 5920066"/>
              <a:gd name="connsiteX108" fmla="*/ 0 w 3443287"/>
              <a:gd name="connsiteY108" fmla="*/ 1529519 h 5920066"/>
              <a:gd name="connsiteX109" fmla="*/ 0 w 3443287"/>
              <a:gd name="connsiteY109" fmla="*/ 1428369 h 5920066"/>
              <a:gd name="connsiteX110" fmla="*/ 0 w 3443287"/>
              <a:gd name="connsiteY110" fmla="*/ 1290764 h 5920066"/>
              <a:gd name="connsiteX111" fmla="*/ 0 w 3443287"/>
              <a:gd name="connsiteY111" fmla="*/ 1255278 h 5920066"/>
              <a:gd name="connsiteX112" fmla="*/ 0 w 3443287"/>
              <a:gd name="connsiteY112" fmla="*/ 1168307 h 5920066"/>
              <a:gd name="connsiteX113" fmla="*/ 0 w 3443287"/>
              <a:gd name="connsiteY113" fmla="*/ 1016524 h 5920066"/>
              <a:gd name="connsiteX114" fmla="*/ 0 w 3443287"/>
              <a:gd name="connsiteY114" fmla="*/ 894067 h 5920066"/>
              <a:gd name="connsiteX115" fmla="*/ 0 w 3443287"/>
              <a:gd name="connsiteY115" fmla="*/ 782195 h 5920066"/>
              <a:gd name="connsiteX116" fmla="*/ 0 w 3443287"/>
              <a:gd name="connsiteY116" fmla="*/ 507955 h 5920066"/>
              <a:gd name="connsiteX117" fmla="*/ 0 w 3443287"/>
              <a:gd name="connsiteY117" fmla="*/ 370350 h 5920066"/>
              <a:gd name="connsiteX118" fmla="*/ 0 w 3443287"/>
              <a:gd name="connsiteY118" fmla="*/ 96110 h 5920066"/>
              <a:gd name="connsiteX119" fmla="*/ 95997 w 3443287"/>
              <a:gd name="connsiteY119" fmla="*/ 0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3443287" h="5920066">
                <a:moveTo>
                  <a:pt x="95997" y="0"/>
                </a:moveTo>
                <a:lnTo>
                  <a:pt x="3443287" y="0"/>
                </a:lnTo>
                <a:lnTo>
                  <a:pt x="3443287" y="5920066"/>
                </a:lnTo>
                <a:lnTo>
                  <a:pt x="95989" y="5920066"/>
                </a:lnTo>
                <a:lnTo>
                  <a:pt x="64311" y="5915938"/>
                </a:lnTo>
                <a:cubicBezTo>
                  <a:pt x="0" y="5897541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94866" y="280734"/>
            <a:ext cx="5514619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970477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2854" userDrawn="1">
          <p15:clr>
            <a:srgbClr val="FBAE40"/>
          </p15:clr>
        </p15:guide>
        <p15:guide id="2" pos="2610" userDrawn="1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1038" y="1270000"/>
            <a:ext cx="5513625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/>
          </p:nvPr>
        </p:nvSpPr>
        <p:spPr bwMode="gray">
          <a:xfrm>
            <a:off x="6869063" y="280732"/>
            <a:ext cx="2796853" cy="5920066"/>
          </a:xfrm>
          <a:custGeom>
            <a:avLst/>
            <a:gdLst>
              <a:gd name="connsiteX0" fmla="*/ 0 w 3442280"/>
              <a:gd name="connsiteY0" fmla="*/ 0 h 5920066"/>
              <a:gd name="connsiteX1" fmla="*/ 3346283 w 3442280"/>
              <a:gd name="connsiteY1" fmla="*/ 0 h 5920066"/>
              <a:gd name="connsiteX2" fmla="*/ 3442280 w 3442280"/>
              <a:gd name="connsiteY2" fmla="*/ 96110 h 5920066"/>
              <a:gd name="connsiteX3" fmla="*/ 3442280 w 3442280"/>
              <a:gd name="connsiteY3" fmla="*/ 335165 h 5920066"/>
              <a:gd name="connsiteX4" fmla="*/ 3442280 w 3442280"/>
              <a:gd name="connsiteY4" fmla="*/ 370350 h 5920066"/>
              <a:gd name="connsiteX5" fmla="*/ 3442280 w 3442280"/>
              <a:gd name="connsiteY5" fmla="*/ 379204 h 5920066"/>
              <a:gd name="connsiteX6" fmla="*/ 3442280 w 3442280"/>
              <a:gd name="connsiteY6" fmla="*/ 400048 h 5920066"/>
              <a:gd name="connsiteX7" fmla="*/ 3442280 w 3442280"/>
              <a:gd name="connsiteY7" fmla="*/ 400232 h 5920066"/>
              <a:gd name="connsiteX8" fmla="*/ 3442280 w 3442280"/>
              <a:gd name="connsiteY8" fmla="*/ 471202 h 5920066"/>
              <a:gd name="connsiteX9" fmla="*/ 3442280 w 3442280"/>
              <a:gd name="connsiteY9" fmla="*/ 475721 h 5920066"/>
              <a:gd name="connsiteX10" fmla="*/ 3442280 w 3442280"/>
              <a:gd name="connsiteY10" fmla="*/ 508692 h 5920066"/>
              <a:gd name="connsiteX11" fmla="*/ 3442280 w 3442280"/>
              <a:gd name="connsiteY11" fmla="*/ 554484 h 5920066"/>
              <a:gd name="connsiteX12" fmla="*/ 3442280 w 3442280"/>
              <a:gd name="connsiteY12" fmla="*/ 563015 h 5920066"/>
              <a:gd name="connsiteX13" fmla="*/ 3442280 w 3442280"/>
              <a:gd name="connsiteY13" fmla="*/ 609405 h 5920066"/>
              <a:gd name="connsiteX14" fmla="*/ 3442280 w 3442280"/>
              <a:gd name="connsiteY14" fmla="*/ 662759 h 5920066"/>
              <a:gd name="connsiteX15" fmla="*/ 3442280 w 3442280"/>
              <a:gd name="connsiteY15" fmla="*/ 674288 h 5920066"/>
              <a:gd name="connsiteX16" fmla="*/ 3442280 w 3442280"/>
              <a:gd name="connsiteY16" fmla="*/ 749961 h 5920066"/>
              <a:gd name="connsiteX17" fmla="*/ 3442280 w 3442280"/>
              <a:gd name="connsiteY17" fmla="*/ 775785 h 5920066"/>
              <a:gd name="connsiteX18" fmla="*/ 3442280 w 3442280"/>
              <a:gd name="connsiteY18" fmla="*/ 837255 h 5920066"/>
              <a:gd name="connsiteX19" fmla="*/ 3442280 w 3442280"/>
              <a:gd name="connsiteY19" fmla="*/ 902921 h 5920066"/>
              <a:gd name="connsiteX20" fmla="*/ 3442280 w 3442280"/>
              <a:gd name="connsiteY20" fmla="*/ 936999 h 5920066"/>
              <a:gd name="connsiteX21" fmla="*/ 3442280 w 3442280"/>
              <a:gd name="connsiteY21" fmla="*/ 1016524 h 5920066"/>
              <a:gd name="connsiteX22" fmla="*/ 3442280 w 3442280"/>
              <a:gd name="connsiteY22" fmla="*/ 1029131 h 5920066"/>
              <a:gd name="connsiteX23" fmla="*/ 3442280 w 3442280"/>
              <a:gd name="connsiteY23" fmla="*/ 1044999 h 5920066"/>
              <a:gd name="connsiteX24" fmla="*/ 3442280 w 3442280"/>
              <a:gd name="connsiteY24" fmla="*/ 1046406 h 5920066"/>
              <a:gd name="connsiteX25" fmla="*/ 3442280 w 3442280"/>
              <a:gd name="connsiteY25" fmla="*/ 1050025 h 5920066"/>
              <a:gd name="connsiteX26" fmla="*/ 3442280 w 3442280"/>
              <a:gd name="connsiteY26" fmla="*/ 1074887 h 5920066"/>
              <a:gd name="connsiteX27" fmla="*/ 3442280 w 3442280"/>
              <a:gd name="connsiteY27" fmla="*/ 1176672 h 5920066"/>
              <a:gd name="connsiteX28" fmla="*/ 3442280 w 3442280"/>
              <a:gd name="connsiteY28" fmla="*/ 1177161 h 5920066"/>
              <a:gd name="connsiteX29" fmla="*/ 3442280 w 3442280"/>
              <a:gd name="connsiteY29" fmla="*/ 1202847 h 5920066"/>
              <a:gd name="connsiteX30" fmla="*/ 3442280 w 3442280"/>
              <a:gd name="connsiteY30" fmla="*/ 1255579 h 5920066"/>
              <a:gd name="connsiteX31" fmla="*/ 3442280 w 3442280"/>
              <a:gd name="connsiteY31" fmla="*/ 1290764 h 5920066"/>
              <a:gd name="connsiteX32" fmla="*/ 3442280 w 3442280"/>
              <a:gd name="connsiteY32" fmla="*/ 1299618 h 5920066"/>
              <a:gd name="connsiteX33" fmla="*/ 3442280 w 3442280"/>
              <a:gd name="connsiteY33" fmla="*/ 1319239 h 5920066"/>
              <a:gd name="connsiteX34" fmla="*/ 3442280 w 3442280"/>
              <a:gd name="connsiteY34" fmla="*/ 1320462 h 5920066"/>
              <a:gd name="connsiteX35" fmla="*/ 3442280 w 3442280"/>
              <a:gd name="connsiteY35" fmla="*/ 1320646 h 5920066"/>
              <a:gd name="connsiteX36" fmla="*/ 3442280 w 3442280"/>
              <a:gd name="connsiteY36" fmla="*/ 1349128 h 5920066"/>
              <a:gd name="connsiteX37" fmla="*/ 3442280 w 3442280"/>
              <a:gd name="connsiteY37" fmla="*/ 1377296 h 5920066"/>
              <a:gd name="connsiteX38" fmla="*/ 3442280 w 3442280"/>
              <a:gd name="connsiteY38" fmla="*/ 1391616 h 5920066"/>
              <a:gd name="connsiteX39" fmla="*/ 3442280 w 3442280"/>
              <a:gd name="connsiteY39" fmla="*/ 1396135 h 5920066"/>
              <a:gd name="connsiteX40" fmla="*/ 3442280 w 3442280"/>
              <a:gd name="connsiteY40" fmla="*/ 1429106 h 5920066"/>
              <a:gd name="connsiteX41" fmla="*/ 3442280 w 3442280"/>
              <a:gd name="connsiteY41" fmla="*/ 1474898 h 5920066"/>
              <a:gd name="connsiteX42" fmla="*/ 3442280 w 3442280"/>
              <a:gd name="connsiteY42" fmla="*/ 1477087 h 5920066"/>
              <a:gd name="connsiteX43" fmla="*/ 3442280 w 3442280"/>
              <a:gd name="connsiteY43" fmla="*/ 1483429 h 5920066"/>
              <a:gd name="connsiteX44" fmla="*/ 3442280 w 3442280"/>
              <a:gd name="connsiteY44" fmla="*/ 1529819 h 5920066"/>
              <a:gd name="connsiteX45" fmla="*/ 3442280 w 3442280"/>
              <a:gd name="connsiteY45" fmla="*/ 1569177 h 5920066"/>
              <a:gd name="connsiteX46" fmla="*/ 3442280 w 3442280"/>
              <a:gd name="connsiteY46" fmla="*/ 1583173 h 5920066"/>
              <a:gd name="connsiteX47" fmla="*/ 3442280 w 3442280"/>
              <a:gd name="connsiteY47" fmla="*/ 1594702 h 5920066"/>
              <a:gd name="connsiteX48" fmla="*/ 3442280 w 3442280"/>
              <a:gd name="connsiteY48" fmla="*/ 1651536 h 5920066"/>
              <a:gd name="connsiteX49" fmla="*/ 3442280 w 3442280"/>
              <a:gd name="connsiteY49" fmla="*/ 1670375 h 5920066"/>
              <a:gd name="connsiteX50" fmla="*/ 3442280 w 3442280"/>
              <a:gd name="connsiteY50" fmla="*/ 1696199 h 5920066"/>
              <a:gd name="connsiteX51" fmla="*/ 3442280 w 3442280"/>
              <a:gd name="connsiteY51" fmla="*/ 1757669 h 5920066"/>
              <a:gd name="connsiteX52" fmla="*/ 3442280 w 3442280"/>
              <a:gd name="connsiteY52" fmla="*/ 1779318 h 5920066"/>
              <a:gd name="connsiteX53" fmla="*/ 3442280 w 3442280"/>
              <a:gd name="connsiteY53" fmla="*/ 1823335 h 5920066"/>
              <a:gd name="connsiteX54" fmla="*/ 3442280 w 3442280"/>
              <a:gd name="connsiteY54" fmla="*/ 1843417 h 5920066"/>
              <a:gd name="connsiteX55" fmla="*/ 3442280 w 3442280"/>
              <a:gd name="connsiteY55" fmla="*/ 1857413 h 5920066"/>
              <a:gd name="connsiteX56" fmla="*/ 3442280 w 3442280"/>
              <a:gd name="connsiteY56" fmla="*/ 1965413 h 5920066"/>
              <a:gd name="connsiteX57" fmla="*/ 3442280 w 3442280"/>
              <a:gd name="connsiteY57" fmla="*/ 1970439 h 5920066"/>
              <a:gd name="connsiteX58" fmla="*/ 3442280 w 3442280"/>
              <a:gd name="connsiteY58" fmla="*/ 2008551 h 5920066"/>
              <a:gd name="connsiteX59" fmla="*/ 3442280 w 3442280"/>
              <a:gd name="connsiteY59" fmla="*/ 2053558 h 5920066"/>
              <a:gd name="connsiteX60" fmla="*/ 3442280 w 3442280"/>
              <a:gd name="connsiteY60" fmla="*/ 2097575 h 5920066"/>
              <a:gd name="connsiteX61" fmla="*/ 3442280 w 3442280"/>
              <a:gd name="connsiteY61" fmla="*/ 2123261 h 5920066"/>
              <a:gd name="connsiteX62" fmla="*/ 3442280 w 3442280"/>
              <a:gd name="connsiteY62" fmla="*/ 2239653 h 5920066"/>
              <a:gd name="connsiteX63" fmla="*/ 3442280 w 3442280"/>
              <a:gd name="connsiteY63" fmla="*/ 2257705 h 5920066"/>
              <a:gd name="connsiteX64" fmla="*/ 3442280 w 3442280"/>
              <a:gd name="connsiteY64" fmla="*/ 2282791 h 5920066"/>
              <a:gd name="connsiteX65" fmla="*/ 3442280 w 3442280"/>
              <a:gd name="connsiteY65" fmla="*/ 2297710 h 5920066"/>
              <a:gd name="connsiteX66" fmla="*/ 3442280 w 3442280"/>
              <a:gd name="connsiteY66" fmla="*/ 2397501 h 5920066"/>
              <a:gd name="connsiteX67" fmla="*/ 3442280 w 3442280"/>
              <a:gd name="connsiteY67" fmla="*/ 2489591 h 5920066"/>
              <a:gd name="connsiteX68" fmla="*/ 3442280 w 3442280"/>
              <a:gd name="connsiteY68" fmla="*/ 2527610 h 5920066"/>
              <a:gd name="connsiteX69" fmla="*/ 3442280 w 3442280"/>
              <a:gd name="connsiteY69" fmla="*/ 2531945 h 5920066"/>
              <a:gd name="connsiteX70" fmla="*/ 3442280 w 3442280"/>
              <a:gd name="connsiteY70" fmla="*/ 2571950 h 5920066"/>
              <a:gd name="connsiteX71" fmla="*/ 3442280 w 3442280"/>
              <a:gd name="connsiteY71" fmla="*/ 2699732 h 5920066"/>
              <a:gd name="connsiteX72" fmla="*/ 3442280 w 3442280"/>
              <a:gd name="connsiteY72" fmla="*/ 2763831 h 5920066"/>
              <a:gd name="connsiteX73" fmla="*/ 3442280 w 3442280"/>
              <a:gd name="connsiteY73" fmla="*/ 2801851 h 5920066"/>
              <a:gd name="connsiteX74" fmla="*/ 3442280 w 3442280"/>
              <a:gd name="connsiteY74" fmla="*/ 2819097 h 5920066"/>
              <a:gd name="connsiteX75" fmla="*/ 3442280 w 3442280"/>
              <a:gd name="connsiteY75" fmla="*/ 2928965 h 5920066"/>
              <a:gd name="connsiteX76" fmla="*/ 3442280 w 3442280"/>
              <a:gd name="connsiteY76" fmla="*/ 2973972 h 5920066"/>
              <a:gd name="connsiteX77" fmla="*/ 3442280 w 3442280"/>
              <a:gd name="connsiteY77" fmla="*/ 3093337 h 5920066"/>
              <a:gd name="connsiteX78" fmla="*/ 3442280 w 3442280"/>
              <a:gd name="connsiteY78" fmla="*/ 3132995 h 5920066"/>
              <a:gd name="connsiteX79" fmla="*/ 3442280 w 3442280"/>
              <a:gd name="connsiteY79" fmla="*/ 3178119 h 5920066"/>
              <a:gd name="connsiteX80" fmla="*/ 3442280 w 3442280"/>
              <a:gd name="connsiteY80" fmla="*/ 3203205 h 5920066"/>
              <a:gd name="connsiteX81" fmla="*/ 3442280 w 3442280"/>
              <a:gd name="connsiteY81" fmla="*/ 3407236 h 5920066"/>
              <a:gd name="connsiteX82" fmla="*/ 3442280 w 3442280"/>
              <a:gd name="connsiteY82" fmla="*/ 3448024 h 5920066"/>
              <a:gd name="connsiteX83" fmla="*/ 3442280 w 3442280"/>
              <a:gd name="connsiteY83" fmla="*/ 3452359 h 5920066"/>
              <a:gd name="connsiteX84" fmla="*/ 3442280 w 3442280"/>
              <a:gd name="connsiteY84" fmla="*/ 3470135 h 5920066"/>
              <a:gd name="connsiteX85" fmla="*/ 3442280 w 3442280"/>
              <a:gd name="connsiteY85" fmla="*/ 3722265 h 5920066"/>
              <a:gd name="connsiteX86" fmla="*/ 3442280 w 3442280"/>
              <a:gd name="connsiteY86" fmla="*/ 3739511 h 5920066"/>
              <a:gd name="connsiteX87" fmla="*/ 3442280 w 3442280"/>
              <a:gd name="connsiteY87" fmla="*/ 3744375 h 5920066"/>
              <a:gd name="connsiteX88" fmla="*/ 3442280 w 3442280"/>
              <a:gd name="connsiteY88" fmla="*/ 3831346 h 5920066"/>
              <a:gd name="connsiteX89" fmla="*/ 3442280 w 3442280"/>
              <a:gd name="connsiteY89" fmla="*/ 4013751 h 5920066"/>
              <a:gd name="connsiteX90" fmla="*/ 3442280 w 3442280"/>
              <a:gd name="connsiteY90" fmla="*/ 4053409 h 5920066"/>
              <a:gd name="connsiteX91" fmla="*/ 3442280 w 3442280"/>
              <a:gd name="connsiteY91" fmla="*/ 4105586 h 5920066"/>
              <a:gd name="connsiteX92" fmla="*/ 3442280 w 3442280"/>
              <a:gd name="connsiteY92" fmla="*/ 4217459 h 5920066"/>
              <a:gd name="connsiteX93" fmla="*/ 3442280 w 3442280"/>
              <a:gd name="connsiteY93" fmla="*/ 4327650 h 5920066"/>
              <a:gd name="connsiteX94" fmla="*/ 3442280 w 3442280"/>
              <a:gd name="connsiteY94" fmla="*/ 4390549 h 5920066"/>
              <a:gd name="connsiteX95" fmla="*/ 3442280 w 3442280"/>
              <a:gd name="connsiteY95" fmla="*/ 4491699 h 5920066"/>
              <a:gd name="connsiteX96" fmla="*/ 3442280 w 3442280"/>
              <a:gd name="connsiteY96" fmla="*/ 4629303 h 5920066"/>
              <a:gd name="connsiteX97" fmla="*/ 3442280 w 3442280"/>
              <a:gd name="connsiteY97" fmla="*/ 4664789 h 5920066"/>
              <a:gd name="connsiteX98" fmla="*/ 3442280 w 3442280"/>
              <a:gd name="connsiteY98" fmla="*/ 4751760 h 5920066"/>
              <a:gd name="connsiteX99" fmla="*/ 3442280 w 3442280"/>
              <a:gd name="connsiteY99" fmla="*/ 4903543 h 5920066"/>
              <a:gd name="connsiteX100" fmla="*/ 3442280 w 3442280"/>
              <a:gd name="connsiteY100" fmla="*/ 5026000 h 5920066"/>
              <a:gd name="connsiteX101" fmla="*/ 3442280 w 3442280"/>
              <a:gd name="connsiteY101" fmla="*/ 5137873 h 5920066"/>
              <a:gd name="connsiteX102" fmla="*/ 3442280 w 3442280"/>
              <a:gd name="connsiteY102" fmla="*/ 5412113 h 5920066"/>
              <a:gd name="connsiteX103" fmla="*/ 3442280 w 3442280"/>
              <a:gd name="connsiteY103" fmla="*/ 5549717 h 5920066"/>
              <a:gd name="connsiteX104" fmla="*/ 3442280 w 3442280"/>
              <a:gd name="connsiteY104" fmla="*/ 5823957 h 5920066"/>
              <a:gd name="connsiteX105" fmla="*/ 3361283 w 3442280"/>
              <a:gd name="connsiteY105" fmla="*/ 5918566 h 5920066"/>
              <a:gd name="connsiteX106" fmla="*/ 3346294 w 3442280"/>
              <a:gd name="connsiteY106" fmla="*/ 5920066 h 5920066"/>
              <a:gd name="connsiteX107" fmla="*/ 0 w 3442280"/>
              <a:gd name="connsiteY107" fmla="*/ 5920066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3442280" h="5920066">
                <a:moveTo>
                  <a:pt x="0" y="0"/>
                </a:moveTo>
                <a:lnTo>
                  <a:pt x="3346283" y="0"/>
                </a:lnTo>
                <a:cubicBezTo>
                  <a:pt x="3442280" y="0"/>
                  <a:pt x="3442280" y="96110"/>
                  <a:pt x="3442280" y="96110"/>
                </a:cubicBezTo>
                <a:cubicBezTo>
                  <a:pt x="3442280" y="96110"/>
                  <a:pt x="3442280" y="96110"/>
                  <a:pt x="3442280" y="335165"/>
                </a:cubicBezTo>
                <a:lnTo>
                  <a:pt x="3442280" y="370350"/>
                </a:lnTo>
                <a:cubicBezTo>
                  <a:pt x="3442280" y="370350"/>
                  <a:pt x="3442280" y="370350"/>
                  <a:pt x="3442280" y="379204"/>
                </a:cubicBezTo>
                <a:lnTo>
                  <a:pt x="3442280" y="400048"/>
                </a:lnTo>
                <a:lnTo>
                  <a:pt x="3442280" y="400232"/>
                </a:lnTo>
                <a:cubicBezTo>
                  <a:pt x="3442280" y="415173"/>
                  <a:pt x="3442280" y="437585"/>
                  <a:pt x="3442280" y="471202"/>
                </a:cubicBezTo>
                <a:lnTo>
                  <a:pt x="3442280" y="475721"/>
                </a:lnTo>
                <a:lnTo>
                  <a:pt x="3442280" y="508692"/>
                </a:lnTo>
                <a:cubicBezTo>
                  <a:pt x="3442280" y="522527"/>
                  <a:pt x="3442280" y="537744"/>
                  <a:pt x="3442280" y="554484"/>
                </a:cubicBezTo>
                <a:lnTo>
                  <a:pt x="3442280" y="563015"/>
                </a:lnTo>
                <a:lnTo>
                  <a:pt x="3442280" y="609405"/>
                </a:lnTo>
                <a:lnTo>
                  <a:pt x="3442280" y="662759"/>
                </a:lnTo>
                <a:lnTo>
                  <a:pt x="3442280" y="674288"/>
                </a:lnTo>
                <a:cubicBezTo>
                  <a:pt x="3442280" y="697668"/>
                  <a:pt x="3442280" y="722846"/>
                  <a:pt x="3442280" y="749961"/>
                </a:cubicBezTo>
                <a:lnTo>
                  <a:pt x="3442280" y="775785"/>
                </a:lnTo>
                <a:lnTo>
                  <a:pt x="3442280" y="837255"/>
                </a:lnTo>
                <a:lnTo>
                  <a:pt x="3442280" y="902921"/>
                </a:lnTo>
                <a:lnTo>
                  <a:pt x="3442280" y="936999"/>
                </a:lnTo>
                <a:lnTo>
                  <a:pt x="3442280" y="1016524"/>
                </a:lnTo>
                <a:cubicBezTo>
                  <a:pt x="3442280" y="1016524"/>
                  <a:pt x="3442280" y="1016524"/>
                  <a:pt x="3442280" y="1029131"/>
                </a:cubicBezTo>
                <a:lnTo>
                  <a:pt x="3442280" y="1044999"/>
                </a:lnTo>
                <a:lnTo>
                  <a:pt x="3442280" y="1046406"/>
                </a:lnTo>
                <a:lnTo>
                  <a:pt x="3442280" y="1050025"/>
                </a:lnTo>
                <a:lnTo>
                  <a:pt x="3442280" y="1074887"/>
                </a:lnTo>
                <a:cubicBezTo>
                  <a:pt x="3442280" y="1098232"/>
                  <a:pt x="3442280" y="1130916"/>
                  <a:pt x="3442280" y="1176672"/>
                </a:cubicBezTo>
                <a:lnTo>
                  <a:pt x="3442280" y="1177161"/>
                </a:lnTo>
                <a:lnTo>
                  <a:pt x="3442280" y="1202847"/>
                </a:lnTo>
                <a:lnTo>
                  <a:pt x="3442280" y="1255579"/>
                </a:lnTo>
                <a:lnTo>
                  <a:pt x="3442280" y="1290764"/>
                </a:lnTo>
                <a:cubicBezTo>
                  <a:pt x="3442280" y="1290764"/>
                  <a:pt x="3442280" y="1290764"/>
                  <a:pt x="3442280" y="1299618"/>
                </a:cubicBezTo>
                <a:lnTo>
                  <a:pt x="3442280" y="1319239"/>
                </a:lnTo>
                <a:lnTo>
                  <a:pt x="3442280" y="1320462"/>
                </a:lnTo>
                <a:lnTo>
                  <a:pt x="3442280" y="1320646"/>
                </a:lnTo>
                <a:cubicBezTo>
                  <a:pt x="3442280" y="1328117"/>
                  <a:pt x="3442280" y="1337455"/>
                  <a:pt x="3442280" y="1349128"/>
                </a:cubicBezTo>
                <a:lnTo>
                  <a:pt x="3442280" y="1377296"/>
                </a:lnTo>
                <a:lnTo>
                  <a:pt x="3442280" y="1391616"/>
                </a:lnTo>
                <a:lnTo>
                  <a:pt x="3442280" y="1396135"/>
                </a:lnTo>
                <a:lnTo>
                  <a:pt x="3442280" y="1429106"/>
                </a:lnTo>
                <a:cubicBezTo>
                  <a:pt x="3442280" y="1442941"/>
                  <a:pt x="3442280" y="1458158"/>
                  <a:pt x="3442280" y="1474898"/>
                </a:cubicBezTo>
                <a:lnTo>
                  <a:pt x="3442280" y="1477087"/>
                </a:lnTo>
                <a:lnTo>
                  <a:pt x="3442280" y="1483429"/>
                </a:lnTo>
                <a:lnTo>
                  <a:pt x="3442280" y="1529819"/>
                </a:lnTo>
                <a:lnTo>
                  <a:pt x="3442280" y="1569177"/>
                </a:lnTo>
                <a:lnTo>
                  <a:pt x="3442280" y="1583173"/>
                </a:lnTo>
                <a:lnTo>
                  <a:pt x="3442280" y="1594702"/>
                </a:lnTo>
                <a:lnTo>
                  <a:pt x="3442280" y="1651536"/>
                </a:lnTo>
                <a:lnTo>
                  <a:pt x="3442280" y="1670375"/>
                </a:lnTo>
                <a:lnTo>
                  <a:pt x="3442280" y="1696199"/>
                </a:lnTo>
                <a:lnTo>
                  <a:pt x="3442280" y="1757669"/>
                </a:lnTo>
                <a:lnTo>
                  <a:pt x="3442280" y="1779318"/>
                </a:lnTo>
                <a:lnTo>
                  <a:pt x="3442280" y="1823335"/>
                </a:lnTo>
                <a:lnTo>
                  <a:pt x="3442280" y="1843417"/>
                </a:lnTo>
                <a:lnTo>
                  <a:pt x="3442280" y="1857413"/>
                </a:lnTo>
                <a:lnTo>
                  <a:pt x="3442280" y="1965413"/>
                </a:lnTo>
                <a:lnTo>
                  <a:pt x="3442280" y="1970439"/>
                </a:lnTo>
                <a:lnTo>
                  <a:pt x="3442280" y="2008551"/>
                </a:lnTo>
                <a:lnTo>
                  <a:pt x="3442280" y="2053558"/>
                </a:lnTo>
                <a:lnTo>
                  <a:pt x="3442280" y="2097575"/>
                </a:lnTo>
                <a:lnTo>
                  <a:pt x="3442280" y="2123261"/>
                </a:lnTo>
                <a:lnTo>
                  <a:pt x="3442280" y="2239653"/>
                </a:lnTo>
                <a:lnTo>
                  <a:pt x="3442280" y="2257705"/>
                </a:lnTo>
                <a:lnTo>
                  <a:pt x="3442280" y="2282791"/>
                </a:lnTo>
                <a:lnTo>
                  <a:pt x="3442280" y="2297710"/>
                </a:lnTo>
                <a:lnTo>
                  <a:pt x="3442280" y="2397501"/>
                </a:lnTo>
                <a:lnTo>
                  <a:pt x="3442280" y="2489591"/>
                </a:lnTo>
                <a:lnTo>
                  <a:pt x="3442280" y="2527610"/>
                </a:lnTo>
                <a:lnTo>
                  <a:pt x="3442280" y="2531945"/>
                </a:lnTo>
                <a:lnTo>
                  <a:pt x="3442280" y="2571950"/>
                </a:lnTo>
                <a:lnTo>
                  <a:pt x="3442280" y="2699732"/>
                </a:lnTo>
                <a:lnTo>
                  <a:pt x="3442280" y="2763831"/>
                </a:lnTo>
                <a:lnTo>
                  <a:pt x="3442280" y="2801851"/>
                </a:lnTo>
                <a:lnTo>
                  <a:pt x="3442280" y="2819097"/>
                </a:lnTo>
                <a:lnTo>
                  <a:pt x="3442280" y="2928965"/>
                </a:lnTo>
                <a:lnTo>
                  <a:pt x="3442280" y="2973972"/>
                </a:lnTo>
                <a:lnTo>
                  <a:pt x="3442280" y="3093337"/>
                </a:lnTo>
                <a:lnTo>
                  <a:pt x="3442280" y="3132995"/>
                </a:lnTo>
                <a:lnTo>
                  <a:pt x="3442280" y="3178119"/>
                </a:lnTo>
                <a:lnTo>
                  <a:pt x="3442280" y="3203205"/>
                </a:lnTo>
                <a:lnTo>
                  <a:pt x="3442280" y="3407236"/>
                </a:lnTo>
                <a:lnTo>
                  <a:pt x="3442280" y="3448024"/>
                </a:lnTo>
                <a:lnTo>
                  <a:pt x="3442280" y="3452359"/>
                </a:lnTo>
                <a:lnTo>
                  <a:pt x="3442280" y="3470135"/>
                </a:lnTo>
                <a:lnTo>
                  <a:pt x="3442280" y="3722265"/>
                </a:lnTo>
                <a:lnTo>
                  <a:pt x="3442280" y="3739511"/>
                </a:lnTo>
                <a:lnTo>
                  <a:pt x="3442280" y="3744375"/>
                </a:lnTo>
                <a:lnTo>
                  <a:pt x="3442280" y="3831346"/>
                </a:lnTo>
                <a:lnTo>
                  <a:pt x="3442280" y="4013751"/>
                </a:lnTo>
                <a:lnTo>
                  <a:pt x="3442280" y="4053409"/>
                </a:lnTo>
                <a:lnTo>
                  <a:pt x="3442280" y="4105586"/>
                </a:lnTo>
                <a:lnTo>
                  <a:pt x="3442280" y="4217459"/>
                </a:lnTo>
                <a:lnTo>
                  <a:pt x="3442280" y="4327650"/>
                </a:lnTo>
                <a:lnTo>
                  <a:pt x="3442280" y="4390549"/>
                </a:lnTo>
                <a:lnTo>
                  <a:pt x="3442280" y="4491699"/>
                </a:lnTo>
                <a:lnTo>
                  <a:pt x="3442280" y="4629303"/>
                </a:lnTo>
                <a:lnTo>
                  <a:pt x="3442280" y="4664789"/>
                </a:lnTo>
                <a:lnTo>
                  <a:pt x="3442280" y="4751760"/>
                </a:lnTo>
                <a:lnTo>
                  <a:pt x="3442280" y="4903543"/>
                </a:lnTo>
                <a:lnTo>
                  <a:pt x="3442280" y="5026000"/>
                </a:lnTo>
                <a:lnTo>
                  <a:pt x="3442280" y="5137873"/>
                </a:lnTo>
                <a:lnTo>
                  <a:pt x="3442280" y="5412113"/>
                </a:lnTo>
                <a:lnTo>
                  <a:pt x="3442280" y="5549717"/>
                </a:lnTo>
                <a:lnTo>
                  <a:pt x="3442280" y="5823957"/>
                </a:lnTo>
                <a:cubicBezTo>
                  <a:pt x="3442280" y="5896040"/>
                  <a:pt x="3388282" y="5914060"/>
                  <a:pt x="3361283" y="5918566"/>
                </a:cubicBezTo>
                <a:lnTo>
                  <a:pt x="3346294" y="5920066"/>
                </a:lnTo>
                <a:lnTo>
                  <a:pt x="0" y="5920066"/>
                </a:ln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7030" y="280734"/>
            <a:ext cx="5507633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962715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4806" userDrawn="1">
          <p15:clr>
            <a:srgbClr val="FBAE40"/>
          </p15:clr>
        </p15:guide>
        <p15:guide id="2" pos="5322" userDrawn="1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566241" y="1201147"/>
            <a:ext cx="9099675" cy="4999652"/>
          </a:xfrm>
          <a:custGeom>
            <a:avLst/>
            <a:gdLst>
              <a:gd name="connsiteX0" fmla="*/ 95997 w 11199600"/>
              <a:gd name="connsiteY0" fmla="*/ 0 h 4999652"/>
              <a:gd name="connsiteX1" fmla="*/ 11103603 w 11199600"/>
              <a:gd name="connsiteY1" fmla="*/ 0 h 4999652"/>
              <a:gd name="connsiteX2" fmla="*/ 11199600 w 11199600"/>
              <a:gd name="connsiteY2" fmla="*/ 96110 h 4999652"/>
              <a:gd name="connsiteX3" fmla="*/ 11199600 w 11199600"/>
              <a:gd name="connsiteY3" fmla="*/ 335165 h 4999652"/>
              <a:gd name="connsiteX4" fmla="*/ 11199600 w 11199600"/>
              <a:gd name="connsiteY4" fmla="*/ 370350 h 4999652"/>
              <a:gd name="connsiteX5" fmla="*/ 11199600 w 11199600"/>
              <a:gd name="connsiteY5" fmla="*/ 379204 h 4999652"/>
              <a:gd name="connsiteX6" fmla="*/ 11199600 w 11199600"/>
              <a:gd name="connsiteY6" fmla="*/ 400048 h 4999652"/>
              <a:gd name="connsiteX7" fmla="*/ 11199600 w 11199600"/>
              <a:gd name="connsiteY7" fmla="*/ 400232 h 4999652"/>
              <a:gd name="connsiteX8" fmla="*/ 11199600 w 11199600"/>
              <a:gd name="connsiteY8" fmla="*/ 471202 h 4999652"/>
              <a:gd name="connsiteX9" fmla="*/ 11199600 w 11199600"/>
              <a:gd name="connsiteY9" fmla="*/ 475721 h 4999652"/>
              <a:gd name="connsiteX10" fmla="*/ 11199600 w 11199600"/>
              <a:gd name="connsiteY10" fmla="*/ 508692 h 4999652"/>
              <a:gd name="connsiteX11" fmla="*/ 11199600 w 11199600"/>
              <a:gd name="connsiteY11" fmla="*/ 554484 h 4999652"/>
              <a:gd name="connsiteX12" fmla="*/ 11199600 w 11199600"/>
              <a:gd name="connsiteY12" fmla="*/ 563015 h 4999652"/>
              <a:gd name="connsiteX13" fmla="*/ 11199600 w 11199600"/>
              <a:gd name="connsiteY13" fmla="*/ 609405 h 4999652"/>
              <a:gd name="connsiteX14" fmla="*/ 11199600 w 11199600"/>
              <a:gd name="connsiteY14" fmla="*/ 662759 h 4999652"/>
              <a:gd name="connsiteX15" fmla="*/ 11199600 w 11199600"/>
              <a:gd name="connsiteY15" fmla="*/ 674288 h 4999652"/>
              <a:gd name="connsiteX16" fmla="*/ 11199600 w 11199600"/>
              <a:gd name="connsiteY16" fmla="*/ 749961 h 4999652"/>
              <a:gd name="connsiteX17" fmla="*/ 11199600 w 11199600"/>
              <a:gd name="connsiteY17" fmla="*/ 775785 h 4999652"/>
              <a:gd name="connsiteX18" fmla="*/ 11199600 w 11199600"/>
              <a:gd name="connsiteY18" fmla="*/ 837255 h 4999652"/>
              <a:gd name="connsiteX19" fmla="*/ 11199600 w 11199600"/>
              <a:gd name="connsiteY19" fmla="*/ 902921 h 4999652"/>
              <a:gd name="connsiteX20" fmla="*/ 11199600 w 11199600"/>
              <a:gd name="connsiteY20" fmla="*/ 936999 h 4999652"/>
              <a:gd name="connsiteX21" fmla="*/ 11199600 w 11199600"/>
              <a:gd name="connsiteY21" fmla="*/ 1016524 h 4999652"/>
              <a:gd name="connsiteX22" fmla="*/ 11199600 w 11199600"/>
              <a:gd name="connsiteY22" fmla="*/ 1029131 h 4999652"/>
              <a:gd name="connsiteX23" fmla="*/ 11199600 w 11199600"/>
              <a:gd name="connsiteY23" fmla="*/ 1044999 h 4999652"/>
              <a:gd name="connsiteX24" fmla="*/ 11199600 w 11199600"/>
              <a:gd name="connsiteY24" fmla="*/ 1046406 h 4999652"/>
              <a:gd name="connsiteX25" fmla="*/ 11199600 w 11199600"/>
              <a:gd name="connsiteY25" fmla="*/ 1050025 h 4999652"/>
              <a:gd name="connsiteX26" fmla="*/ 11199600 w 11199600"/>
              <a:gd name="connsiteY26" fmla="*/ 1074887 h 4999652"/>
              <a:gd name="connsiteX27" fmla="*/ 11199600 w 11199600"/>
              <a:gd name="connsiteY27" fmla="*/ 1176672 h 4999652"/>
              <a:gd name="connsiteX28" fmla="*/ 11199600 w 11199600"/>
              <a:gd name="connsiteY28" fmla="*/ 1177161 h 4999652"/>
              <a:gd name="connsiteX29" fmla="*/ 11199600 w 11199600"/>
              <a:gd name="connsiteY29" fmla="*/ 1202847 h 4999652"/>
              <a:gd name="connsiteX30" fmla="*/ 11199600 w 11199600"/>
              <a:gd name="connsiteY30" fmla="*/ 1208224 h 4999652"/>
              <a:gd name="connsiteX31" fmla="*/ 11199600 w 11199600"/>
              <a:gd name="connsiteY31" fmla="*/ 1255579 h 4999652"/>
              <a:gd name="connsiteX32" fmla="*/ 11199600 w 11199600"/>
              <a:gd name="connsiteY32" fmla="*/ 1290764 h 4999652"/>
              <a:gd name="connsiteX33" fmla="*/ 11199600 w 11199600"/>
              <a:gd name="connsiteY33" fmla="*/ 1299618 h 4999652"/>
              <a:gd name="connsiteX34" fmla="*/ 11199600 w 11199600"/>
              <a:gd name="connsiteY34" fmla="*/ 1319238 h 4999652"/>
              <a:gd name="connsiteX35" fmla="*/ 11199600 w 11199600"/>
              <a:gd name="connsiteY35" fmla="*/ 1319239 h 4999652"/>
              <a:gd name="connsiteX36" fmla="*/ 11199600 w 11199600"/>
              <a:gd name="connsiteY36" fmla="*/ 1320462 h 4999652"/>
              <a:gd name="connsiteX37" fmla="*/ 11199600 w 11199600"/>
              <a:gd name="connsiteY37" fmla="*/ 1320646 h 4999652"/>
              <a:gd name="connsiteX38" fmla="*/ 11199600 w 11199600"/>
              <a:gd name="connsiteY38" fmla="*/ 1337290 h 4999652"/>
              <a:gd name="connsiteX39" fmla="*/ 11199600 w 11199600"/>
              <a:gd name="connsiteY39" fmla="*/ 1349128 h 4999652"/>
              <a:gd name="connsiteX40" fmla="*/ 11199600 w 11199600"/>
              <a:gd name="connsiteY40" fmla="*/ 1362376 h 4999652"/>
              <a:gd name="connsiteX41" fmla="*/ 11199600 w 11199600"/>
              <a:gd name="connsiteY41" fmla="*/ 1377295 h 4999652"/>
              <a:gd name="connsiteX42" fmla="*/ 11199600 w 11199600"/>
              <a:gd name="connsiteY42" fmla="*/ 1377296 h 4999652"/>
              <a:gd name="connsiteX43" fmla="*/ 11199600 w 11199600"/>
              <a:gd name="connsiteY43" fmla="*/ 1391616 h 4999652"/>
              <a:gd name="connsiteX44" fmla="*/ 11199600 w 11199600"/>
              <a:gd name="connsiteY44" fmla="*/ 1396135 h 4999652"/>
              <a:gd name="connsiteX45" fmla="*/ 11199600 w 11199600"/>
              <a:gd name="connsiteY45" fmla="*/ 1429106 h 4999652"/>
              <a:gd name="connsiteX46" fmla="*/ 11199600 w 11199600"/>
              <a:gd name="connsiteY46" fmla="*/ 1474898 h 4999652"/>
              <a:gd name="connsiteX47" fmla="*/ 11199600 w 11199600"/>
              <a:gd name="connsiteY47" fmla="*/ 1477086 h 4999652"/>
              <a:gd name="connsiteX48" fmla="*/ 11199600 w 11199600"/>
              <a:gd name="connsiteY48" fmla="*/ 1477087 h 4999652"/>
              <a:gd name="connsiteX49" fmla="*/ 11199600 w 11199600"/>
              <a:gd name="connsiteY49" fmla="*/ 1483429 h 4999652"/>
              <a:gd name="connsiteX50" fmla="*/ 11199600 w 11199600"/>
              <a:gd name="connsiteY50" fmla="*/ 1529819 h 4999652"/>
              <a:gd name="connsiteX51" fmla="*/ 11199600 w 11199600"/>
              <a:gd name="connsiteY51" fmla="*/ 1569176 h 4999652"/>
              <a:gd name="connsiteX52" fmla="*/ 11199600 w 11199600"/>
              <a:gd name="connsiteY52" fmla="*/ 1569177 h 4999652"/>
              <a:gd name="connsiteX53" fmla="*/ 11199600 w 11199600"/>
              <a:gd name="connsiteY53" fmla="*/ 1583173 h 4999652"/>
              <a:gd name="connsiteX54" fmla="*/ 11199600 w 11199600"/>
              <a:gd name="connsiteY54" fmla="*/ 1594702 h 4999652"/>
              <a:gd name="connsiteX55" fmla="*/ 11199600 w 11199600"/>
              <a:gd name="connsiteY55" fmla="*/ 1607195 h 4999652"/>
              <a:gd name="connsiteX56" fmla="*/ 11199600 w 11199600"/>
              <a:gd name="connsiteY56" fmla="*/ 1611530 h 4999652"/>
              <a:gd name="connsiteX57" fmla="*/ 11199600 w 11199600"/>
              <a:gd name="connsiteY57" fmla="*/ 1651535 h 4999652"/>
              <a:gd name="connsiteX58" fmla="*/ 11199600 w 11199600"/>
              <a:gd name="connsiteY58" fmla="*/ 1651536 h 4999652"/>
              <a:gd name="connsiteX59" fmla="*/ 11199600 w 11199600"/>
              <a:gd name="connsiteY59" fmla="*/ 1670375 h 4999652"/>
              <a:gd name="connsiteX60" fmla="*/ 11199600 w 11199600"/>
              <a:gd name="connsiteY60" fmla="*/ 1696199 h 4999652"/>
              <a:gd name="connsiteX61" fmla="*/ 11199600 w 11199600"/>
              <a:gd name="connsiteY61" fmla="*/ 1757669 h 4999652"/>
              <a:gd name="connsiteX62" fmla="*/ 11199600 w 11199600"/>
              <a:gd name="connsiteY62" fmla="*/ 1779317 h 4999652"/>
              <a:gd name="connsiteX63" fmla="*/ 11199600 w 11199600"/>
              <a:gd name="connsiteY63" fmla="*/ 1779318 h 4999652"/>
              <a:gd name="connsiteX64" fmla="*/ 11199600 w 11199600"/>
              <a:gd name="connsiteY64" fmla="*/ 1823335 h 4999652"/>
              <a:gd name="connsiteX65" fmla="*/ 11199600 w 11199600"/>
              <a:gd name="connsiteY65" fmla="*/ 1843416 h 4999652"/>
              <a:gd name="connsiteX66" fmla="*/ 11199600 w 11199600"/>
              <a:gd name="connsiteY66" fmla="*/ 1843417 h 4999652"/>
              <a:gd name="connsiteX67" fmla="*/ 11199600 w 11199600"/>
              <a:gd name="connsiteY67" fmla="*/ 1857413 h 4999652"/>
              <a:gd name="connsiteX68" fmla="*/ 11199600 w 11199600"/>
              <a:gd name="connsiteY68" fmla="*/ 1881436 h 4999652"/>
              <a:gd name="connsiteX69" fmla="*/ 11199600 w 11199600"/>
              <a:gd name="connsiteY69" fmla="*/ 1898682 h 4999652"/>
              <a:gd name="connsiteX70" fmla="*/ 11199600 w 11199600"/>
              <a:gd name="connsiteY70" fmla="*/ 1965413 h 4999652"/>
              <a:gd name="connsiteX71" fmla="*/ 11199600 w 11199600"/>
              <a:gd name="connsiteY71" fmla="*/ 1970439 h 4999652"/>
              <a:gd name="connsiteX72" fmla="*/ 11199600 w 11199600"/>
              <a:gd name="connsiteY72" fmla="*/ 2008550 h 4999652"/>
              <a:gd name="connsiteX73" fmla="*/ 11199600 w 11199600"/>
              <a:gd name="connsiteY73" fmla="*/ 2008551 h 4999652"/>
              <a:gd name="connsiteX74" fmla="*/ 11199600 w 11199600"/>
              <a:gd name="connsiteY74" fmla="*/ 2053557 h 4999652"/>
              <a:gd name="connsiteX75" fmla="*/ 11199600 w 11199600"/>
              <a:gd name="connsiteY75" fmla="*/ 2053558 h 4999652"/>
              <a:gd name="connsiteX76" fmla="*/ 11199600 w 11199600"/>
              <a:gd name="connsiteY76" fmla="*/ 2097575 h 4999652"/>
              <a:gd name="connsiteX77" fmla="*/ 11199600 w 11199600"/>
              <a:gd name="connsiteY77" fmla="*/ 2123261 h 4999652"/>
              <a:gd name="connsiteX78" fmla="*/ 11199600 w 11199600"/>
              <a:gd name="connsiteY78" fmla="*/ 2172922 h 4999652"/>
              <a:gd name="connsiteX79" fmla="*/ 11199600 w 11199600"/>
              <a:gd name="connsiteY79" fmla="*/ 2212580 h 4999652"/>
              <a:gd name="connsiteX80" fmla="*/ 11199600 w 11199600"/>
              <a:gd name="connsiteY80" fmla="*/ 2239653 h 4999652"/>
              <a:gd name="connsiteX81" fmla="*/ 11199600 w 11199600"/>
              <a:gd name="connsiteY81" fmla="*/ 2257704 h 4999652"/>
              <a:gd name="connsiteX82" fmla="*/ 11199600 w 11199600"/>
              <a:gd name="connsiteY82" fmla="*/ 2257705 h 4999652"/>
              <a:gd name="connsiteX83" fmla="*/ 11199600 w 11199600"/>
              <a:gd name="connsiteY83" fmla="*/ 2282790 h 4999652"/>
              <a:gd name="connsiteX84" fmla="*/ 11199600 w 11199600"/>
              <a:gd name="connsiteY84" fmla="*/ 2282791 h 4999652"/>
              <a:gd name="connsiteX85" fmla="*/ 11199600 w 11199600"/>
              <a:gd name="connsiteY85" fmla="*/ 2297710 h 4999652"/>
              <a:gd name="connsiteX86" fmla="*/ 11199600 w 11199600"/>
              <a:gd name="connsiteY86" fmla="*/ 2397501 h 4999652"/>
              <a:gd name="connsiteX87" fmla="*/ 11199600 w 11199600"/>
              <a:gd name="connsiteY87" fmla="*/ 2486821 h 4999652"/>
              <a:gd name="connsiteX88" fmla="*/ 11199600 w 11199600"/>
              <a:gd name="connsiteY88" fmla="*/ 2489591 h 4999652"/>
              <a:gd name="connsiteX89" fmla="*/ 11199600 w 11199600"/>
              <a:gd name="connsiteY89" fmla="*/ 2527609 h 4999652"/>
              <a:gd name="connsiteX90" fmla="*/ 11199600 w 11199600"/>
              <a:gd name="connsiteY90" fmla="*/ 2527610 h 4999652"/>
              <a:gd name="connsiteX91" fmla="*/ 11199600 w 11199600"/>
              <a:gd name="connsiteY91" fmla="*/ 2531944 h 4999652"/>
              <a:gd name="connsiteX92" fmla="*/ 11199600 w 11199600"/>
              <a:gd name="connsiteY92" fmla="*/ 2531945 h 4999652"/>
              <a:gd name="connsiteX93" fmla="*/ 11199600 w 11199600"/>
              <a:gd name="connsiteY93" fmla="*/ 2549720 h 4999652"/>
              <a:gd name="connsiteX94" fmla="*/ 11199600 w 11199600"/>
              <a:gd name="connsiteY94" fmla="*/ 2571950 h 4999652"/>
              <a:gd name="connsiteX95" fmla="*/ 11199600 w 11199600"/>
              <a:gd name="connsiteY95" fmla="*/ 2699732 h 4999652"/>
              <a:gd name="connsiteX96" fmla="*/ 11199600 w 11199600"/>
              <a:gd name="connsiteY96" fmla="*/ 2763831 h 4999652"/>
              <a:gd name="connsiteX97" fmla="*/ 11199600 w 11199600"/>
              <a:gd name="connsiteY97" fmla="*/ 2790282 h 4999652"/>
              <a:gd name="connsiteX98" fmla="*/ 11199600 w 11199600"/>
              <a:gd name="connsiteY98" fmla="*/ 2801850 h 4999652"/>
              <a:gd name="connsiteX99" fmla="*/ 11199600 w 11199600"/>
              <a:gd name="connsiteY99" fmla="*/ 2819096 h 4999652"/>
              <a:gd name="connsiteX100" fmla="*/ 11199600 w 11199600"/>
              <a:gd name="connsiteY100" fmla="*/ 2823960 h 4999652"/>
              <a:gd name="connsiteX101" fmla="*/ 11199600 w 11199600"/>
              <a:gd name="connsiteY101" fmla="*/ 2910931 h 4999652"/>
              <a:gd name="connsiteX102" fmla="*/ 11199600 w 11199600"/>
              <a:gd name="connsiteY102" fmla="*/ 3093336 h 4999652"/>
              <a:gd name="connsiteX103" fmla="*/ 11199600 w 11199600"/>
              <a:gd name="connsiteY103" fmla="*/ 3132994 h 4999652"/>
              <a:gd name="connsiteX104" fmla="*/ 11199600 w 11199600"/>
              <a:gd name="connsiteY104" fmla="*/ 3185171 h 4999652"/>
              <a:gd name="connsiteX105" fmla="*/ 11199600 w 11199600"/>
              <a:gd name="connsiteY105" fmla="*/ 3297044 h 4999652"/>
              <a:gd name="connsiteX106" fmla="*/ 11199600 w 11199600"/>
              <a:gd name="connsiteY106" fmla="*/ 3407235 h 4999652"/>
              <a:gd name="connsiteX107" fmla="*/ 11199600 w 11199600"/>
              <a:gd name="connsiteY107" fmla="*/ 3470134 h 4999652"/>
              <a:gd name="connsiteX108" fmla="*/ 11199600 w 11199600"/>
              <a:gd name="connsiteY108" fmla="*/ 3571284 h 4999652"/>
              <a:gd name="connsiteX109" fmla="*/ 11199600 w 11199600"/>
              <a:gd name="connsiteY109" fmla="*/ 3708888 h 4999652"/>
              <a:gd name="connsiteX110" fmla="*/ 11199600 w 11199600"/>
              <a:gd name="connsiteY110" fmla="*/ 3744374 h 4999652"/>
              <a:gd name="connsiteX111" fmla="*/ 11199600 w 11199600"/>
              <a:gd name="connsiteY111" fmla="*/ 3831345 h 4999652"/>
              <a:gd name="connsiteX112" fmla="*/ 11199600 w 11199600"/>
              <a:gd name="connsiteY112" fmla="*/ 3983128 h 4999652"/>
              <a:gd name="connsiteX113" fmla="*/ 11199600 w 11199600"/>
              <a:gd name="connsiteY113" fmla="*/ 4105585 h 4999652"/>
              <a:gd name="connsiteX114" fmla="*/ 11199600 w 11199600"/>
              <a:gd name="connsiteY114" fmla="*/ 4217458 h 4999652"/>
              <a:gd name="connsiteX115" fmla="*/ 11199600 w 11199600"/>
              <a:gd name="connsiteY115" fmla="*/ 4491698 h 4999652"/>
              <a:gd name="connsiteX116" fmla="*/ 11199600 w 11199600"/>
              <a:gd name="connsiteY116" fmla="*/ 4629302 h 4999652"/>
              <a:gd name="connsiteX117" fmla="*/ 11199600 w 11199600"/>
              <a:gd name="connsiteY117" fmla="*/ 4903542 h 4999652"/>
              <a:gd name="connsiteX118" fmla="*/ 11103603 w 11199600"/>
              <a:gd name="connsiteY118" fmla="*/ 4999652 h 4999652"/>
              <a:gd name="connsiteX119" fmla="*/ 95997 w 11199600"/>
              <a:gd name="connsiteY119" fmla="*/ 4999652 h 4999652"/>
              <a:gd name="connsiteX120" fmla="*/ 0 w 11199600"/>
              <a:gd name="connsiteY120" fmla="*/ 4903542 h 4999652"/>
              <a:gd name="connsiteX121" fmla="*/ 0 w 11199600"/>
              <a:gd name="connsiteY121" fmla="*/ 4899807 h 4999652"/>
              <a:gd name="connsiteX122" fmla="*/ 0 w 11199600"/>
              <a:gd name="connsiteY122" fmla="*/ 4890936 h 4999652"/>
              <a:gd name="connsiteX123" fmla="*/ 0 w 11199600"/>
              <a:gd name="connsiteY123" fmla="*/ 4873660 h 4999652"/>
              <a:gd name="connsiteX124" fmla="*/ 0 w 11199600"/>
              <a:gd name="connsiteY124" fmla="*/ 4845179 h 4999652"/>
              <a:gd name="connsiteX125" fmla="*/ 0 w 11199600"/>
              <a:gd name="connsiteY125" fmla="*/ 4802691 h 4999652"/>
              <a:gd name="connsiteX126" fmla="*/ 0 w 11199600"/>
              <a:gd name="connsiteY126" fmla="*/ 4743394 h 4999652"/>
              <a:gd name="connsiteX127" fmla="*/ 0 w 11199600"/>
              <a:gd name="connsiteY127" fmla="*/ 4664487 h 4999652"/>
              <a:gd name="connsiteX128" fmla="*/ 0 w 11199600"/>
              <a:gd name="connsiteY128" fmla="*/ 4629302 h 4999652"/>
              <a:gd name="connsiteX129" fmla="*/ 0 w 11199600"/>
              <a:gd name="connsiteY129" fmla="*/ 4628196 h 4999652"/>
              <a:gd name="connsiteX130" fmla="*/ 0 w 11199600"/>
              <a:gd name="connsiteY130" fmla="*/ 4620448 h 4999652"/>
              <a:gd name="connsiteX131" fmla="*/ 0 w 11199600"/>
              <a:gd name="connsiteY131" fmla="*/ 4599605 h 4999652"/>
              <a:gd name="connsiteX132" fmla="*/ 0 w 11199600"/>
              <a:gd name="connsiteY132" fmla="*/ 4599420 h 4999652"/>
              <a:gd name="connsiteX133" fmla="*/ 0 w 11199600"/>
              <a:gd name="connsiteY133" fmla="*/ 4558471 h 4999652"/>
              <a:gd name="connsiteX134" fmla="*/ 0 w 11199600"/>
              <a:gd name="connsiteY134" fmla="*/ 4528451 h 4999652"/>
              <a:gd name="connsiteX135" fmla="*/ 0 w 11199600"/>
              <a:gd name="connsiteY135" fmla="*/ 4523932 h 4999652"/>
              <a:gd name="connsiteX136" fmla="*/ 0 w 11199600"/>
              <a:gd name="connsiteY136" fmla="*/ 4490960 h 4999652"/>
              <a:gd name="connsiteX137" fmla="*/ 0 w 11199600"/>
              <a:gd name="connsiteY137" fmla="*/ 4445169 h 4999652"/>
              <a:gd name="connsiteX138" fmla="*/ 0 w 11199600"/>
              <a:gd name="connsiteY138" fmla="*/ 4436638 h 4999652"/>
              <a:gd name="connsiteX139" fmla="*/ 0 w 11199600"/>
              <a:gd name="connsiteY139" fmla="*/ 4390247 h 4999652"/>
              <a:gd name="connsiteX140" fmla="*/ 0 w 11199600"/>
              <a:gd name="connsiteY140" fmla="*/ 4336893 h 4999652"/>
              <a:gd name="connsiteX141" fmla="*/ 0 w 11199600"/>
              <a:gd name="connsiteY141" fmla="*/ 4325365 h 4999652"/>
              <a:gd name="connsiteX142" fmla="*/ 0 w 11199600"/>
              <a:gd name="connsiteY142" fmla="*/ 4249692 h 4999652"/>
              <a:gd name="connsiteX143" fmla="*/ 0 w 11199600"/>
              <a:gd name="connsiteY143" fmla="*/ 4223868 h 4999652"/>
              <a:gd name="connsiteX144" fmla="*/ 0 w 11199600"/>
              <a:gd name="connsiteY144" fmla="*/ 4162398 h 4999652"/>
              <a:gd name="connsiteX145" fmla="*/ 0 w 11199600"/>
              <a:gd name="connsiteY145" fmla="*/ 4096731 h 4999652"/>
              <a:gd name="connsiteX146" fmla="*/ 0 w 11199600"/>
              <a:gd name="connsiteY146" fmla="*/ 4062653 h 4999652"/>
              <a:gd name="connsiteX147" fmla="*/ 0 w 11199600"/>
              <a:gd name="connsiteY147" fmla="*/ 3983128 h 4999652"/>
              <a:gd name="connsiteX148" fmla="*/ 0 w 11199600"/>
              <a:gd name="connsiteY148" fmla="*/ 3979393 h 4999652"/>
              <a:gd name="connsiteX149" fmla="*/ 0 w 11199600"/>
              <a:gd name="connsiteY149" fmla="*/ 3970522 h 4999652"/>
              <a:gd name="connsiteX150" fmla="*/ 0 w 11199600"/>
              <a:gd name="connsiteY150" fmla="*/ 3954654 h 4999652"/>
              <a:gd name="connsiteX151" fmla="*/ 0 w 11199600"/>
              <a:gd name="connsiteY151" fmla="*/ 3953246 h 4999652"/>
              <a:gd name="connsiteX152" fmla="*/ 0 w 11199600"/>
              <a:gd name="connsiteY152" fmla="*/ 3949628 h 4999652"/>
              <a:gd name="connsiteX153" fmla="*/ 0 w 11199600"/>
              <a:gd name="connsiteY153" fmla="*/ 3924765 h 4999652"/>
              <a:gd name="connsiteX154" fmla="*/ 0 w 11199600"/>
              <a:gd name="connsiteY154" fmla="*/ 3882277 h 4999652"/>
              <a:gd name="connsiteX155" fmla="*/ 0 w 11199600"/>
              <a:gd name="connsiteY155" fmla="*/ 3822980 h 4999652"/>
              <a:gd name="connsiteX156" fmla="*/ 0 w 11199600"/>
              <a:gd name="connsiteY156" fmla="*/ 3822491 h 4999652"/>
              <a:gd name="connsiteX157" fmla="*/ 0 w 11199600"/>
              <a:gd name="connsiteY157" fmla="*/ 3796806 h 4999652"/>
              <a:gd name="connsiteX158" fmla="*/ 0 w 11199600"/>
              <a:gd name="connsiteY158" fmla="*/ 3744073 h 4999652"/>
              <a:gd name="connsiteX159" fmla="*/ 0 w 11199600"/>
              <a:gd name="connsiteY159" fmla="*/ 3708888 h 4999652"/>
              <a:gd name="connsiteX160" fmla="*/ 0 w 11199600"/>
              <a:gd name="connsiteY160" fmla="*/ 3707782 h 4999652"/>
              <a:gd name="connsiteX161" fmla="*/ 0 w 11199600"/>
              <a:gd name="connsiteY161" fmla="*/ 3700034 h 4999652"/>
              <a:gd name="connsiteX162" fmla="*/ 0 w 11199600"/>
              <a:gd name="connsiteY162" fmla="*/ 3680414 h 4999652"/>
              <a:gd name="connsiteX163" fmla="*/ 0 w 11199600"/>
              <a:gd name="connsiteY163" fmla="*/ 3679191 h 4999652"/>
              <a:gd name="connsiteX164" fmla="*/ 0 w 11199600"/>
              <a:gd name="connsiteY164" fmla="*/ 3679006 h 4999652"/>
              <a:gd name="connsiteX165" fmla="*/ 0 w 11199600"/>
              <a:gd name="connsiteY165" fmla="*/ 3638057 h 4999652"/>
              <a:gd name="connsiteX166" fmla="*/ 0 w 11199600"/>
              <a:gd name="connsiteY166" fmla="*/ 3622356 h 4999652"/>
              <a:gd name="connsiteX167" fmla="*/ 0 w 11199600"/>
              <a:gd name="connsiteY167" fmla="*/ 3608037 h 4999652"/>
              <a:gd name="connsiteX168" fmla="*/ 0 w 11199600"/>
              <a:gd name="connsiteY168" fmla="*/ 3603518 h 4999652"/>
              <a:gd name="connsiteX169" fmla="*/ 0 w 11199600"/>
              <a:gd name="connsiteY169" fmla="*/ 3570546 h 4999652"/>
              <a:gd name="connsiteX170" fmla="*/ 0 w 11199600"/>
              <a:gd name="connsiteY170" fmla="*/ 3524755 h 4999652"/>
              <a:gd name="connsiteX171" fmla="*/ 0 w 11199600"/>
              <a:gd name="connsiteY171" fmla="*/ 3522566 h 4999652"/>
              <a:gd name="connsiteX172" fmla="*/ 0 w 11199600"/>
              <a:gd name="connsiteY172" fmla="*/ 3516224 h 4999652"/>
              <a:gd name="connsiteX173" fmla="*/ 0 w 11199600"/>
              <a:gd name="connsiteY173" fmla="*/ 3469833 h 4999652"/>
              <a:gd name="connsiteX174" fmla="*/ 0 w 11199600"/>
              <a:gd name="connsiteY174" fmla="*/ 3430476 h 4999652"/>
              <a:gd name="connsiteX175" fmla="*/ 0 w 11199600"/>
              <a:gd name="connsiteY175" fmla="*/ 3416479 h 4999652"/>
              <a:gd name="connsiteX176" fmla="*/ 0 w 11199600"/>
              <a:gd name="connsiteY176" fmla="*/ 3404951 h 4999652"/>
              <a:gd name="connsiteX177" fmla="*/ 0 w 11199600"/>
              <a:gd name="connsiteY177" fmla="*/ 3348116 h 4999652"/>
              <a:gd name="connsiteX178" fmla="*/ 0 w 11199600"/>
              <a:gd name="connsiteY178" fmla="*/ 3329278 h 4999652"/>
              <a:gd name="connsiteX179" fmla="*/ 0 w 11199600"/>
              <a:gd name="connsiteY179" fmla="*/ 3303454 h 4999652"/>
              <a:gd name="connsiteX180" fmla="*/ 0 w 11199600"/>
              <a:gd name="connsiteY180" fmla="*/ 3241984 h 4999652"/>
              <a:gd name="connsiteX181" fmla="*/ 0 w 11199600"/>
              <a:gd name="connsiteY181" fmla="*/ 3220334 h 4999652"/>
              <a:gd name="connsiteX182" fmla="*/ 0 w 11199600"/>
              <a:gd name="connsiteY182" fmla="*/ 3176317 h 4999652"/>
              <a:gd name="connsiteX183" fmla="*/ 0 w 11199600"/>
              <a:gd name="connsiteY183" fmla="*/ 3156236 h 4999652"/>
              <a:gd name="connsiteX184" fmla="*/ 0 w 11199600"/>
              <a:gd name="connsiteY184" fmla="*/ 3142239 h 4999652"/>
              <a:gd name="connsiteX185" fmla="*/ 0 w 11199600"/>
              <a:gd name="connsiteY185" fmla="*/ 3034240 h 4999652"/>
              <a:gd name="connsiteX186" fmla="*/ 0 w 11199600"/>
              <a:gd name="connsiteY186" fmla="*/ 3029214 h 4999652"/>
              <a:gd name="connsiteX187" fmla="*/ 0 w 11199600"/>
              <a:gd name="connsiteY187" fmla="*/ 2991101 h 4999652"/>
              <a:gd name="connsiteX188" fmla="*/ 0 w 11199600"/>
              <a:gd name="connsiteY188" fmla="*/ 2946094 h 4999652"/>
              <a:gd name="connsiteX189" fmla="*/ 0 w 11199600"/>
              <a:gd name="connsiteY189" fmla="*/ 2902077 h 4999652"/>
              <a:gd name="connsiteX190" fmla="*/ 0 w 11199600"/>
              <a:gd name="connsiteY190" fmla="*/ 2876392 h 4999652"/>
              <a:gd name="connsiteX191" fmla="*/ 0 w 11199600"/>
              <a:gd name="connsiteY191" fmla="*/ 2790282 h 4999652"/>
              <a:gd name="connsiteX192" fmla="*/ 0 w 11199600"/>
              <a:gd name="connsiteY192" fmla="*/ 2787072 h 4999652"/>
              <a:gd name="connsiteX193" fmla="*/ 0 w 11199600"/>
              <a:gd name="connsiteY193" fmla="*/ 2760000 h 4999652"/>
              <a:gd name="connsiteX194" fmla="*/ 0 w 11199600"/>
              <a:gd name="connsiteY194" fmla="*/ 2741948 h 4999652"/>
              <a:gd name="connsiteX195" fmla="*/ 0 w 11199600"/>
              <a:gd name="connsiteY195" fmla="*/ 2741947 h 4999652"/>
              <a:gd name="connsiteX196" fmla="*/ 0 w 11199600"/>
              <a:gd name="connsiteY196" fmla="*/ 2716862 h 4999652"/>
              <a:gd name="connsiteX197" fmla="*/ 0 w 11199600"/>
              <a:gd name="connsiteY197" fmla="*/ 2716861 h 4999652"/>
              <a:gd name="connsiteX198" fmla="*/ 0 w 11199600"/>
              <a:gd name="connsiteY198" fmla="*/ 2701942 h 4999652"/>
              <a:gd name="connsiteX199" fmla="*/ 0 w 11199600"/>
              <a:gd name="connsiteY199" fmla="*/ 2602152 h 4999652"/>
              <a:gd name="connsiteX200" fmla="*/ 0 w 11199600"/>
              <a:gd name="connsiteY200" fmla="*/ 2512832 h 4999652"/>
              <a:gd name="connsiteX201" fmla="*/ 0 w 11199600"/>
              <a:gd name="connsiteY201" fmla="*/ 2510062 h 4999652"/>
              <a:gd name="connsiteX202" fmla="*/ 0 w 11199600"/>
              <a:gd name="connsiteY202" fmla="*/ 2472043 h 4999652"/>
              <a:gd name="connsiteX203" fmla="*/ 0 w 11199600"/>
              <a:gd name="connsiteY203" fmla="*/ 2472042 h 4999652"/>
              <a:gd name="connsiteX204" fmla="*/ 0 w 11199600"/>
              <a:gd name="connsiteY204" fmla="*/ 2467708 h 4999652"/>
              <a:gd name="connsiteX205" fmla="*/ 0 w 11199600"/>
              <a:gd name="connsiteY205" fmla="*/ 2467707 h 4999652"/>
              <a:gd name="connsiteX206" fmla="*/ 0 w 11199600"/>
              <a:gd name="connsiteY206" fmla="*/ 2449933 h 4999652"/>
              <a:gd name="connsiteX207" fmla="*/ 0 w 11199600"/>
              <a:gd name="connsiteY207" fmla="*/ 2427702 h 4999652"/>
              <a:gd name="connsiteX208" fmla="*/ 0 w 11199600"/>
              <a:gd name="connsiteY208" fmla="*/ 2299920 h 4999652"/>
              <a:gd name="connsiteX209" fmla="*/ 0 w 11199600"/>
              <a:gd name="connsiteY209" fmla="*/ 2235822 h 4999652"/>
              <a:gd name="connsiteX210" fmla="*/ 0 w 11199600"/>
              <a:gd name="connsiteY210" fmla="*/ 2197803 h 4999652"/>
              <a:gd name="connsiteX211" fmla="*/ 0 w 11199600"/>
              <a:gd name="connsiteY211" fmla="*/ 2197802 h 4999652"/>
              <a:gd name="connsiteX212" fmla="*/ 0 w 11199600"/>
              <a:gd name="connsiteY212" fmla="*/ 2180556 h 4999652"/>
              <a:gd name="connsiteX213" fmla="*/ 0 w 11199600"/>
              <a:gd name="connsiteY213" fmla="*/ 2180555 h 4999652"/>
              <a:gd name="connsiteX214" fmla="*/ 0 w 11199600"/>
              <a:gd name="connsiteY214" fmla="*/ 2175692 h 4999652"/>
              <a:gd name="connsiteX215" fmla="*/ 0 w 11199600"/>
              <a:gd name="connsiteY215" fmla="*/ 2088721 h 4999652"/>
              <a:gd name="connsiteX216" fmla="*/ 0 w 11199600"/>
              <a:gd name="connsiteY216" fmla="*/ 2070687 h 4999652"/>
              <a:gd name="connsiteX217" fmla="*/ 0 w 11199600"/>
              <a:gd name="connsiteY217" fmla="*/ 2025680 h 4999652"/>
              <a:gd name="connsiteX218" fmla="*/ 0 w 11199600"/>
              <a:gd name="connsiteY218" fmla="*/ 1906316 h 4999652"/>
              <a:gd name="connsiteX219" fmla="*/ 0 w 11199600"/>
              <a:gd name="connsiteY219" fmla="*/ 1906315 h 4999652"/>
              <a:gd name="connsiteX220" fmla="*/ 0 w 11199600"/>
              <a:gd name="connsiteY220" fmla="*/ 1866658 h 4999652"/>
              <a:gd name="connsiteX221" fmla="*/ 0 w 11199600"/>
              <a:gd name="connsiteY221" fmla="*/ 1866657 h 4999652"/>
              <a:gd name="connsiteX222" fmla="*/ 0 w 11199600"/>
              <a:gd name="connsiteY222" fmla="*/ 1821533 h 4999652"/>
              <a:gd name="connsiteX223" fmla="*/ 0 w 11199600"/>
              <a:gd name="connsiteY223" fmla="*/ 1814481 h 4999652"/>
              <a:gd name="connsiteX224" fmla="*/ 0 w 11199600"/>
              <a:gd name="connsiteY224" fmla="*/ 1796447 h 4999652"/>
              <a:gd name="connsiteX225" fmla="*/ 0 w 11199600"/>
              <a:gd name="connsiteY225" fmla="*/ 1702609 h 4999652"/>
              <a:gd name="connsiteX226" fmla="*/ 0 w 11199600"/>
              <a:gd name="connsiteY226" fmla="*/ 1592418 h 4999652"/>
              <a:gd name="connsiteX227" fmla="*/ 0 w 11199600"/>
              <a:gd name="connsiteY227" fmla="*/ 1592417 h 4999652"/>
              <a:gd name="connsiteX228" fmla="*/ 0 w 11199600"/>
              <a:gd name="connsiteY228" fmla="*/ 1551628 h 4999652"/>
              <a:gd name="connsiteX229" fmla="*/ 0 w 11199600"/>
              <a:gd name="connsiteY229" fmla="*/ 1547293 h 4999652"/>
              <a:gd name="connsiteX230" fmla="*/ 0 w 11199600"/>
              <a:gd name="connsiteY230" fmla="*/ 1529519 h 4999652"/>
              <a:gd name="connsiteX231" fmla="*/ 0 w 11199600"/>
              <a:gd name="connsiteY231" fmla="*/ 1529518 h 4999652"/>
              <a:gd name="connsiteX232" fmla="*/ 0 w 11199600"/>
              <a:gd name="connsiteY232" fmla="*/ 1428369 h 4999652"/>
              <a:gd name="connsiteX233" fmla="*/ 0 w 11199600"/>
              <a:gd name="connsiteY233" fmla="*/ 1290764 h 4999652"/>
              <a:gd name="connsiteX234" fmla="*/ 0 w 11199600"/>
              <a:gd name="connsiteY234" fmla="*/ 1277388 h 4999652"/>
              <a:gd name="connsiteX235" fmla="*/ 0 w 11199600"/>
              <a:gd name="connsiteY235" fmla="*/ 1260141 h 4999652"/>
              <a:gd name="connsiteX236" fmla="*/ 0 w 11199600"/>
              <a:gd name="connsiteY236" fmla="*/ 1255278 h 4999652"/>
              <a:gd name="connsiteX237" fmla="*/ 0 w 11199600"/>
              <a:gd name="connsiteY237" fmla="*/ 1255277 h 4999652"/>
              <a:gd name="connsiteX238" fmla="*/ 0 w 11199600"/>
              <a:gd name="connsiteY238" fmla="*/ 1208224 h 4999652"/>
              <a:gd name="connsiteX239" fmla="*/ 0 w 11199600"/>
              <a:gd name="connsiteY239" fmla="*/ 1168307 h 4999652"/>
              <a:gd name="connsiteX240" fmla="*/ 0 w 11199600"/>
              <a:gd name="connsiteY240" fmla="*/ 1016524 h 4999652"/>
              <a:gd name="connsiteX241" fmla="*/ 0 w 11199600"/>
              <a:gd name="connsiteY241" fmla="*/ 894067 h 4999652"/>
              <a:gd name="connsiteX242" fmla="*/ 0 w 11199600"/>
              <a:gd name="connsiteY242" fmla="*/ 782195 h 4999652"/>
              <a:gd name="connsiteX243" fmla="*/ 0 w 11199600"/>
              <a:gd name="connsiteY243" fmla="*/ 507955 h 4999652"/>
              <a:gd name="connsiteX244" fmla="*/ 0 w 11199600"/>
              <a:gd name="connsiteY244" fmla="*/ 370350 h 4999652"/>
              <a:gd name="connsiteX245" fmla="*/ 0 w 11199600"/>
              <a:gd name="connsiteY245" fmla="*/ 96110 h 4999652"/>
              <a:gd name="connsiteX246" fmla="*/ 95997 w 11199600"/>
              <a:gd name="connsiteY246" fmla="*/ 0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</a:cxnLst>
            <a:rect l="l" t="t" r="r" b="b"/>
            <a:pathLst>
              <a:path w="11199600" h="4999652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08224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8"/>
                </a:ln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lnTo>
                  <a:pt x="11199600" y="1337290"/>
                </a:lnTo>
                <a:lnTo>
                  <a:pt x="11199600" y="1349128"/>
                </a:lnTo>
                <a:lnTo>
                  <a:pt x="11199600" y="1362376"/>
                </a:lnTo>
                <a:lnTo>
                  <a:pt x="11199600" y="1377295"/>
                </a:ln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6"/>
                </a:ln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6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07195"/>
                </a:lnTo>
                <a:lnTo>
                  <a:pt x="11199600" y="1611530"/>
                </a:lnTo>
                <a:lnTo>
                  <a:pt x="11199600" y="1651535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7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6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881436"/>
                </a:lnTo>
                <a:lnTo>
                  <a:pt x="11199600" y="1898682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0"/>
                </a:lnTo>
                <a:lnTo>
                  <a:pt x="11199600" y="2008551"/>
                </a:lnTo>
                <a:lnTo>
                  <a:pt x="11199600" y="2053557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172922"/>
                </a:lnTo>
                <a:lnTo>
                  <a:pt x="11199600" y="2212580"/>
                </a:lnTo>
                <a:lnTo>
                  <a:pt x="11199600" y="2239653"/>
                </a:lnTo>
                <a:lnTo>
                  <a:pt x="11199600" y="2257704"/>
                </a:lnTo>
                <a:lnTo>
                  <a:pt x="11199600" y="2257705"/>
                </a:lnTo>
                <a:lnTo>
                  <a:pt x="11199600" y="2282790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6821"/>
                </a:lnTo>
                <a:lnTo>
                  <a:pt x="11199600" y="2489591"/>
                </a:lnTo>
                <a:lnTo>
                  <a:pt x="11199600" y="2527609"/>
                </a:lnTo>
                <a:lnTo>
                  <a:pt x="11199600" y="2527610"/>
                </a:lnTo>
                <a:lnTo>
                  <a:pt x="11199600" y="2531944"/>
                </a:lnTo>
                <a:lnTo>
                  <a:pt x="11199600" y="2531945"/>
                </a:lnTo>
                <a:lnTo>
                  <a:pt x="11199600" y="2549720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790282"/>
                </a:lnTo>
                <a:lnTo>
                  <a:pt x="11199600" y="2801850"/>
                </a:lnTo>
                <a:lnTo>
                  <a:pt x="11199600" y="2819096"/>
                </a:lnTo>
                <a:lnTo>
                  <a:pt x="11199600" y="2823960"/>
                </a:lnTo>
                <a:lnTo>
                  <a:pt x="11199600" y="2910931"/>
                </a:lnTo>
                <a:lnTo>
                  <a:pt x="11199600" y="3093336"/>
                </a:lnTo>
                <a:lnTo>
                  <a:pt x="11199600" y="3132994"/>
                </a:lnTo>
                <a:lnTo>
                  <a:pt x="11199600" y="3185171"/>
                </a:lnTo>
                <a:lnTo>
                  <a:pt x="11199600" y="3297044"/>
                </a:lnTo>
                <a:lnTo>
                  <a:pt x="11199600" y="3407235"/>
                </a:lnTo>
                <a:lnTo>
                  <a:pt x="11199600" y="3470134"/>
                </a:lnTo>
                <a:lnTo>
                  <a:pt x="11199600" y="3571284"/>
                </a:lnTo>
                <a:lnTo>
                  <a:pt x="11199600" y="3708888"/>
                </a:lnTo>
                <a:lnTo>
                  <a:pt x="11199600" y="3744374"/>
                </a:lnTo>
                <a:lnTo>
                  <a:pt x="11199600" y="3831345"/>
                </a:lnTo>
                <a:lnTo>
                  <a:pt x="11199600" y="3983128"/>
                </a:lnTo>
                <a:lnTo>
                  <a:pt x="11199600" y="4105585"/>
                </a:lnTo>
                <a:lnTo>
                  <a:pt x="11199600" y="4217458"/>
                </a:lnTo>
                <a:lnTo>
                  <a:pt x="11199600" y="4491698"/>
                </a:lnTo>
                <a:lnTo>
                  <a:pt x="11199600" y="4629302"/>
                </a:lnTo>
                <a:lnTo>
                  <a:pt x="11199600" y="4903542"/>
                </a:lnTo>
                <a:cubicBezTo>
                  <a:pt x="11199600" y="4999652"/>
                  <a:pt x="11103603" y="4999652"/>
                  <a:pt x="11103603" y="4999652"/>
                </a:cubicBezTo>
                <a:cubicBezTo>
                  <a:pt x="11103603" y="4999652"/>
                  <a:pt x="11103603" y="4999652"/>
                  <a:pt x="95997" y="4999652"/>
                </a:cubicBezTo>
                <a:cubicBezTo>
                  <a:pt x="0" y="4999652"/>
                  <a:pt x="0" y="4903542"/>
                  <a:pt x="0" y="4903542"/>
                </a:cubicBezTo>
                <a:lnTo>
                  <a:pt x="0" y="4899807"/>
                </a:lnTo>
                <a:lnTo>
                  <a:pt x="0" y="4890936"/>
                </a:lnTo>
                <a:lnTo>
                  <a:pt x="0" y="4873660"/>
                </a:lnTo>
                <a:lnTo>
                  <a:pt x="0" y="4845179"/>
                </a:lnTo>
                <a:lnTo>
                  <a:pt x="0" y="4802691"/>
                </a:lnTo>
                <a:lnTo>
                  <a:pt x="0" y="4743394"/>
                </a:lnTo>
                <a:lnTo>
                  <a:pt x="0" y="4664487"/>
                </a:lnTo>
                <a:lnTo>
                  <a:pt x="0" y="4629302"/>
                </a:lnTo>
                <a:lnTo>
                  <a:pt x="0" y="4628196"/>
                </a:lnTo>
                <a:lnTo>
                  <a:pt x="0" y="4620448"/>
                </a:lnTo>
                <a:lnTo>
                  <a:pt x="0" y="4599605"/>
                </a:lnTo>
                <a:lnTo>
                  <a:pt x="0" y="4599420"/>
                </a:lnTo>
                <a:lnTo>
                  <a:pt x="0" y="4558471"/>
                </a:lnTo>
                <a:lnTo>
                  <a:pt x="0" y="4528451"/>
                </a:lnTo>
                <a:lnTo>
                  <a:pt x="0" y="4523932"/>
                </a:lnTo>
                <a:lnTo>
                  <a:pt x="0" y="4490960"/>
                </a:lnTo>
                <a:lnTo>
                  <a:pt x="0" y="4445169"/>
                </a:lnTo>
                <a:lnTo>
                  <a:pt x="0" y="4436638"/>
                </a:lnTo>
                <a:lnTo>
                  <a:pt x="0" y="4390247"/>
                </a:lnTo>
                <a:lnTo>
                  <a:pt x="0" y="4336893"/>
                </a:lnTo>
                <a:lnTo>
                  <a:pt x="0" y="4325365"/>
                </a:lnTo>
                <a:lnTo>
                  <a:pt x="0" y="4249692"/>
                </a:lnTo>
                <a:lnTo>
                  <a:pt x="0" y="4223868"/>
                </a:lnTo>
                <a:lnTo>
                  <a:pt x="0" y="4162398"/>
                </a:lnTo>
                <a:lnTo>
                  <a:pt x="0" y="4096731"/>
                </a:lnTo>
                <a:lnTo>
                  <a:pt x="0" y="4062653"/>
                </a:lnTo>
                <a:lnTo>
                  <a:pt x="0" y="3983128"/>
                </a:lnTo>
                <a:lnTo>
                  <a:pt x="0" y="3979393"/>
                </a:lnTo>
                <a:lnTo>
                  <a:pt x="0" y="3970522"/>
                </a:lnTo>
                <a:lnTo>
                  <a:pt x="0" y="3954654"/>
                </a:lnTo>
                <a:lnTo>
                  <a:pt x="0" y="3953246"/>
                </a:lnTo>
                <a:lnTo>
                  <a:pt x="0" y="3949628"/>
                </a:lnTo>
                <a:lnTo>
                  <a:pt x="0" y="3924765"/>
                </a:lnTo>
                <a:lnTo>
                  <a:pt x="0" y="3882277"/>
                </a:lnTo>
                <a:lnTo>
                  <a:pt x="0" y="3822980"/>
                </a:lnTo>
                <a:lnTo>
                  <a:pt x="0" y="3822491"/>
                </a:lnTo>
                <a:lnTo>
                  <a:pt x="0" y="3796806"/>
                </a:lnTo>
                <a:lnTo>
                  <a:pt x="0" y="3744073"/>
                </a:lnTo>
                <a:lnTo>
                  <a:pt x="0" y="3708888"/>
                </a:lnTo>
                <a:lnTo>
                  <a:pt x="0" y="3707782"/>
                </a:lnTo>
                <a:lnTo>
                  <a:pt x="0" y="3700034"/>
                </a:lnTo>
                <a:lnTo>
                  <a:pt x="0" y="3680414"/>
                </a:lnTo>
                <a:lnTo>
                  <a:pt x="0" y="3679191"/>
                </a:lnTo>
                <a:lnTo>
                  <a:pt x="0" y="3679006"/>
                </a:lnTo>
                <a:lnTo>
                  <a:pt x="0" y="3638057"/>
                </a:lnTo>
                <a:lnTo>
                  <a:pt x="0" y="3622356"/>
                </a:lnTo>
                <a:lnTo>
                  <a:pt x="0" y="3608037"/>
                </a:lnTo>
                <a:lnTo>
                  <a:pt x="0" y="3603518"/>
                </a:lnTo>
                <a:lnTo>
                  <a:pt x="0" y="3570546"/>
                </a:lnTo>
                <a:lnTo>
                  <a:pt x="0" y="3524755"/>
                </a:lnTo>
                <a:lnTo>
                  <a:pt x="0" y="3522566"/>
                </a:lnTo>
                <a:lnTo>
                  <a:pt x="0" y="3516224"/>
                </a:lnTo>
                <a:lnTo>
                  <a:pt x="0" y="3469833"/>
                </a:lnTo>
                <a:lnTo>
                  <a:pt x="0" y="3430476"/>
                </a:lnTo>
                <a:lnTo>
                  <a:pt x="0" y="3416479"/>
                </a:lnTo>
                <a:lnTo>
                  <a:pt x="0" y="3404951"/>
                </a:lnTo>
                <a:lnTo>
                  <a:pt x="0" y="3348116"/>
                </a:lnTo>
                <a:lnTo>
                  <a:pt x="0" y="3329278"/>
                </a:lnTo>
                <a:lnTo>
                  <a:pt x="0" y="3303454"/>
                </a:lnTo>
                <a:lnTo>
                  <a:pt x="0" y="3241984"/>
                </a:lnTo>
                <a:lnTo>
                  <a:pt x="0" y="3220334"/>
                </a:lnTo>
                <a:lnTo>
                  <a:pt x="0" y="3176317"/>
                </a:lnTo>
                <a:lnTo>
                  <a:pt x="0" y="3156236"/>
                </a:lnTo>
                <a:lnTo>
                  <a:pt x="0" y="3142239"/>
                </a:lnTo>
                <a:lnTo>
                  <a:pt x="0" y="3034240"/>
                </a:lnTo>
                <a:lnTo>
                  <a:pt x="0" y="3029214"/>
                </a:lnTo>
                <a:lnTo>
                  <a:pt x="0" y="2991101"/>
                </a:lnTo>
                <a:lnTo>
                  <a:pt x="0" y="2946094"/>
                </a:lnTo>
                <a:lnTo>
                  <a:pt x="0" y="2902077"/>
                </a:lnTo>
                <a:lnTo>
                  <a:pt x="0" y="2876392"/>
                </a:lnTo>
                <a:lnTo>
                  <a:pt x="0" y="2790282"/>
                </a:lnTo>
                <a:lnTo>
                  <a:pt x="0" y="2787072"/>
                </a:lnTo>
                <a:lnTo>
                  <a:pt x="0" y="2760000"/>
                </a:lnTo>
                <a:lnTo>
                  <a:pt x="0" y="2741948"/>
                </a:lnTo>
                <a:lnTo>
                  <a:pt x="0" y="2741947"/>
                </a:lnTo>
                <a:lnTo>
                  <a:pt x="0" y="2716862"/>
                </a:lnTo>
                <a:lnTo>
                  <a:pt x="0" y="2716861"/>
                </a:lnTo>
                <a:lnTo>
                  <a:pt x="0" y="2701942"/>
                </a:lnTo>
                <a:lnTo>
                  <a:pt x="0" y="2602152"/>
                </a:lnTo>
                <a:lnTo>
                  <a:pt x="0" y="2512832"/>
                </a:lnTo>
                <a:lnTo>
                  <a:pt x="0" y="2510062"/>
                </a:lnTo>
                <a:lnTo>
                  <a:pt x="0" y="2472043"/>
                </a:lnTo>
                <a:lnTo>
                  <a:pt x="0" y="2472042"/>
                </a:lnTo>
                <a:lnTo>
                  <a:pt x="0" y="2467708"/>
                </a:lnTo>
                <a:lnTo>
                  <a:pt x="0" y="2467707"/>
                </a:lnTo>
                <a:lnTo>
                  <a:pt x="0" y="2449933"/>
                </a:lnTo>
                <a:lnTo>
                  <a:pt x="0" y="2427702"/>
                </a:lnTo>
                <a:lnTo>
                  <a:pt x="0" y="2299920"/>
                </a:lnTo>
                <a:lnTo>
                  <a:pt x="0" y="2235822"/>
                </a:lnTo>
                <a:lnTo>
                  <a:pt x="0" y="2197803"/>
                </a:lnTo>
                <a:lnTo>
                  <a:pt x="0" y="2197802"/>
                </a:lnTo>
                <a:lnTo>
                  <a:pt x="0" y="2180556"/>
                </a:lnTo>
                <a:lnTo>
                  <a:pt x="0" y="2180555"/>
                </a:lnTo>
                <a:lnTo>
                  <a:pt x="0" y="2175692"/>
                </a:lnTo>
                <a:lnTo>
                  <a:pt x="0" y="2088721"/>
                </a:lnTo>
                <a:lnTo>
                  <a:pt x="0" y="2070687"/>
                </a:lnTo>
                <a:lnTo>
                  <a:pt x="0" y="2025680"/>
                </a:lnTo>
                <a:lnTo>
                  <a:pt x="0" y="1906316"/>
                </a:lnTo>
                <a:lnTo>
                  <a:pt x="0" y="1906315"/>
                </a:lnTo>
                <a:lnTo>
                  <a:pt x="0" y="1866658"/>
                </a:lnTo>
                <a:lnTo>
                  <a:pt x="0" y="1866657"/>
                </a:lnTo>
                <a:lnTo>
                  <a:pt x="0" y="1821533"/>
                </a:lnTo>
                <a:lnTo>
                  <a:pt x="0" y="1814481"/>
                </a:lnTo>
                <a:lnTo>
                  <a:pt x="0" y="1796447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92417"/>
                </a:lnTo>
                <a:lnTo>
                  <a:pt x="0" y="1551628"/>
                </a:lnTo>
                <a:lnTo>
                  <a:pt x="0" y="1547293"/>
                </a:lnTo>
                <a:lnTo>
                  <a:pt x="0" y="1529519"/>
                </a:lnTo>
                <a:lnTo>
                  <a:pt x="0" y="1529518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77388"/>
                </a:lnTo>
                <a:lnTo>
                  <a:pt x="0" y="1260141"/>
                </a:lnTo>
                <a:lnTo>
                  <a:pt x="0" y="1255278"/>
                </a:lnTo>
                <a:lnTo>
                  <a:pt x="0" y="1255277"/>
                </a:lnTo>
                <a:lnTo>
                  <a:pt x="0" y="1208224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824292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02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 bwMode="gray">
          <a:xfrm>
            <a:off x="566241" y="280734"/>
            <a:ext cx="9099675" cy="5920067"/>
          </a:xfrm>
          <a:custGeom>
            <a:avLst/>
            <a:gdLst>
              <a:gd name="connsiteX0" fmla="*/ 95997 w 11199600"/>
              <a:gd name="connsiteY0" fmla="*/ 0 h 5920067"/>
              <a:gd name="connsiteX1" fmla="*/ 11103603 w 11199600"/>
              <a:gd name="connsiteY1" fmla="*/ 0 h 5920067"/>
              <a:gd name="connsiteX2" fmla="*/ 11199600 w 11199600"/>
              <a:gd name="connsiteY2" fmla="*/ 96110 h 5920067"/>
              <a:gd name="connsiteX3" fmla="*/ 11199600 w 11199600"/>
              <a:gd name="connsiteY3" fmla="*/ 335165 h 5920067"/>
              <a:gd name="connsiteX4" fmla="*/ 11199600 w 11199600"/>
              <a:gd name="connsiteY4" fmla="*/ 370350 h 5920067"/>
              <a:gd name="connsiteX5" fmla="*/ 11199600 w 11199600"/>
              <a:gd name="connsiteY5" fmla="*/ 379204 h 5920067"/>
              <a:gd name="connsiteX6" fmla="*/ 11199600 w 11199600"/>
              <a:gd name="connsiteY6" fmla="*/ 400048 h 5920067"/>
              <a:gd name="connsiteX7" fmla="*/ 11199600 w 11199600"/>
              <a:gd name="connsiteY7" fmla="*/ 400232 h 5920067"/>
              <a:gd name="connsiteX8" fmla="*/ 11199600 w 11199600"/>
              <a:gd name="connsiteY8" fmla="*/ 471202 h 5920067"/>
              <a:gd name="connsiteX9" fmla="*/ 11199600 w 11199600"/>
              <a:gd name="connsiteY9" fmla="*/ 475721 h 5920067"/>
              <a:gd name="connsiteX10" fmla="*/ 11199600 w 11199600"/>
              <a:gd name="connsiteY10" fmla="*/ 508692 h 5920067"/>
              <a:gd name="connsiteX11" fmla="*/ 11199600 w 11199600"/>
              <a:gd name="connsiteY11" fmla="*/ 554484 h 5920067"/>
              <a:gd name="connsiteX12" fmla="*/ 11199600 w 11199600"/>
              <a:gd name="connsiteY12" fmla="*/ 563015 h 5920067"/>
              <a:gd name="connsiteX13" fmla="*/ 11199600 w 11199600"/>
              <a:gd name="connsiteY13" fmla="*/ 609405 h 5920067"/>
              <a:gd name="connsiteX14" fmla="*/ 11199600 w 11199600"/>
              <a:gd name="connsiteY14" fmla="*/ 662759 h 5920067"/>
              <a:gd name="connsiteX15" fmla="*/ 11199600 w 11199600"/>
              <a:gd name="connsiteY15" fmla="*/ 674288 h 5920067"/>
              <a:gd name="connsiteX16" fmla="*/ 11199600 w 11199600"/>
              <a:gd name="connsiteY16" fmla="*/ 749961 h 5920067"/>
              <a:gd name="connsiteX17" fmla="*/ 11199600 w 11199600"/>
              <a:gd name="connsiteY17" fmla="*/ 775785 h 5920067"/>
              <a:gd name="connsiteX18" fmla="*/ 11199600 w 11199600"/>
              <a:gd name="connsiteY18" fmla="*/ 837255 h 5920067"/>
              <a:gd name="connsiteX19" fmla="*/ 11199600 w 11199600"/>
              <a:gd name="connsiteY19" fmla="*/ 902921 h 5920067"/>
              <a:gd name="connsiteX20" fmla="*/ 11199600 w 11199600"/>
              <a:gd name="connsiteY20" fmla="*/ 936999 h 5920067"/>
              <a:gd name="connsiteX21" fmla="*/ 11199600 w 11199600"/>
              <a:gd name="connsiteY21" fmla="*/ 1016524 h 5920067"/>
              <a:gd name="connsiteX22" fmla="*/ 11199600 w 11199600"/>
              <a:gd name="connsiteY22" fmla="*/ 1029131 h 5920067"/>
              <a:gd name="connsiteX23" fmla="*/ 11199600 w 11199600"/>
              <a:gd name="connsiteY23" fmla="*/ 1044999 h 5920067"/>
              <a:gd name="connsiteX24" fmla="*/ 11199600 w 11199600"/>
              <a:gd name="connsiteY24" fmla="*/ 1046406 h 5920067"/>
              <a:gd name="connsiteX25" fmla="*/ 11199600 w 11199600"/>
              <a:gd name="connsiteY25" fmla="*/ 1050025 h 5920067"/>
              <a:gd name="connsiteX26" fmla="*/ 11199600 w 11199600"/>
              <a:gd name="connsiteY26" fmla="*/ 1074887 h 5920067"/>
              <a:gd name="connsiteX27" fmla="*/ 11199600 w 11199600"/>
              <a:gd name="connsiteY27" fmla="*/ 1176672 h 5920067"/>
              <a:gd name="connsiteX28" fmla="*/ 11199600 w 11199600"/>
              <a:gd name="connsiteY28" fmla="*/ 1177161 h 5920067"/>
              <a:gd name="connsiteX29" fmla="*/ 11199600 w 11199600"/>
              <a:gd name="connsiteY29" fmla="*/ 1202847 h 5920067"/>
              <a:gd name="connsiteX30" fmla="*/ 11199600 w 11199600"/>
              <a:gd name="connsiteY30" fmla="*/ 1255579 h 5920067"/>
              <a:gd name="connsiteX31" fmla="*/ 11199600 w 11199600"/>
              <a:gd name="connsiteY31" fmla="*/ 1290764 h 5920067"/>
              <a:gd name="connsiteX32" fmla="*/ 11199600 w 11199600"/>
              <a:gd name="connsiteY32" fmla="*/ 1299618 h 5920067"/>
              <a:gd name="connsiteX33" fmla="*/ 11199600 w 11199600"/>
              <a:gd name="connsiteY33" fmla="*/ 1319239 h 5920067"/>
              <a:gd name="connsiteX34" fmla="*/ 11199600 w 11199600"/>
              <a:gd name="connsiteY34" fmla="*/ 1320462 h 5920067"/>
              <a:gd name="connsiteX35" fmla="*/ 11199600 w 11199600"/>
              <a:gd name="connsiteY35" fmla="*/ 1320646 h 5920067"/>
              <a:gd name="connsiteX36" fmla="*/ 11199600 w 11199600"/>
              <a:gd name="connsiteY36" fmla="*/ 1349128 h 5920067"/>
              <a:gd name="connsiteX37" fmla="*/ 11199600 w 11199600"/>
              <a:gd name="connsiteY37" fmla="*/ 1377296 h 5920067"/>
              <a:gd name="connsiteX38" fmla="*/ 11199600 w 11199600"/>
              <a:gd name="connsiteY38" fmla="*/ 1391616 h 5920067"/>
              <a:gd name="connsiteX39" fmla="*/ 11199600 w 11199600"/>
              <a:gd name="connsiteY39" fmla="*/ 1396135 h 5920067"/>
              <a:gd name="connsiteX40" fmla="*/ 11199600 w 11199600"/>
              <a:gd name="connsiteY40" fmla="*/ 1429106 h 5920067"/>
              <a:gd name="connsiteX41" fmla="*/ 11199600 w 11199600"/>
              <a:gd name="connsiteY41" fmla="*/ 1474898 h 5920067"/>
              <a:gd name="connsiteX42" fmla="*/ 11199600 w 11199600"/>
              <a:gd name="connsiteY42" fmla="*/ 1477087 h 5920067"/>
              <a:gd name="connsiteX43" fmla="*/ 11199600 w 11199600"/>
              <a:gd name="connsiteY43" fmla="*/ 1483429 h 5920067"/>
              <a:gd name="connsiteX44" fmla="*/ 11199600 w 11199600"/>
              <a:gd name="connsiteY44" fmla="*/ 1529819 h 5920067"/>
              <a:gd name="connsiteX45" fmla="*/ 11199600 w 11199600"/>
              <a:gd name="connsiteY45" fmla="*/ 1569177 h 5920067"/>
              <a:gd name="connsiteX46" fmla="*/ 11199600 w 11199600"/>
              <a:gd name="connsiteY46" fmla="*/ 1583173 h 5920067"/>
              <a:gd name="connsiteX47" fmla="*/ 11199600 w 11199600"/>
              <a:gd name="connsiteY47" fmla="*/ 1594702 h 5920067"/>
              <a:gd name="connsiteX48" fmla="*/ 11199600 w 11199600"/>
              <a:gd name="connsiteY48" fmla="*/ 1651536 h 5920067"/>
              <a:gd name="connsiteX49" fmla="*/ 11199600 w 11199600"/>
              <a:gd name="connsiteY49" fmla="*/ 1670375 h 5920067"/>
              <a:gd name="connsiteX50" fmla="*/ 11199600 w 11199600"/>
              <a:gd name="connsiteY50" fmla="*/ 1696199 h 5920067"/>
              <a:gd name="connsiteX51" fmla="*/ 11199600 w 11199600"/>
              <a:gd name="connsiteY51" fmla="*/ 1757669 h 5920067"/>
              <a:gd name="connsiteX52" fmla="*/ 11199600 w 11199600"/>
              <a:gd name="connsiteY52" fmla="*/ 1779318 h 5920067"/>
              <a:gd name="connsiteX53" fmla="*/ 11199600 w 11199600"/>
              <a:gd name="connsiteY53" fmla="*/ 1823335 h 5920067"/>
              <a:gd name="connsiteX54" fmla="*/ 11199600 w 11199600"/>
              <a:gd name="connsiteY54" fmla="*/ 1843417 h 5920067"/>
              <a:gd name="connsiteX55" fmla="*/ 11199600 w 11199600"/>
              <a:gd name="connsiteY55" fmla="*/ 1857413 h 5920067"/>
              <a:gd name="connsiteX56" fmla="*/ 11199600 w 11199600"/>
              <a:gd name="connsiteY56" fmla="*/ 1965413 h 5920067"/>
              <a:gd name="connsiteX57" fmla="*/ 11199600 w 11199600"/>
              <a:gd name="connsiteY57" fmla="*/ 1970439 h 5920067"/>
              <a:gd name="connsiteX58" fmla="*/ 11199600 w 11199600"/>
              <a:gd name="connsiteY58" fmla="*/ 2008551 h 5920067"/>
              <a:gd name="connsiteX59" fmla="*/ 11199600 w 11199600"/>
              <a:gd name="connsiteY59" fmla="*/ 2053558 h 5920067"/>
              <a:gd name="connsiteX60" fmla="*/ 11199600 w 11199600"/>
              <a:gd name="connsiteY60" fmla="*/ 2097575 h 5920067"/>
              <a:gd name="connsiteX61" fmla="*/ 11199600 w 11199600"/>
              <a:gd name="connsiteY61" fmla="*/ 2123261 h 5920067"/>
              <a:gd name="connsiteX62" fmla="*/ 11199600 w 11199600"/>
              <a:gd name="connsiteY62" fmla="*/ 2239653 h 5920067"/>
              <a:gd name="connsiteX63" fmla="*/ 11199600 w 11199600"/>
              <a:gd name="connsiteY63" fmla="*/ 2257705 h 5920067"/>
              <a:gd name="connsiteX64" fmla="*/ 11199600 w 11199600"/>
              <a:gd name="connsiteY64" fmla="*/ 2282791 h 5920067"/>
              <a:gd name="connsiteX65" fmla="*/ 11199600 w 11199600"/>
              <a:gd name="connsiteY65" fmla="*/ 2297710 h 5920067"/>
              <a:gd name="connsiteX66" fmla="*/ 11199600 w 11199600"/>
              <a:gd name="connsiteY66" fmla="*/ 2397501 h 5920067"/>
              <a:gd name="connsiteX67" fmla="*/ 11199600 w 11199600"/>
              <a:gd name="connsiteY67" fmla="*/ 2489591 h 5920067"/>
              <a:gd name="connsiteX68" fmla="*/ 11199600 w 11199600"/>
              <a:gd name="connsiteY68" fmla="*/ 2527610 h 5920067"/>
              <a:gd name="connsiteX69" fmla="*/ 11199600 w 11199600"/>
              <a:gd name="connsiteY69" fmla="*/ 2531945 h 5920067"/>
              <a:gd name="connsiteX70" fmla="*/ 11199600 w 11199600"/>
              <a:gd name="connsiteY70" fmla="*/ 2571950 h 5920067"/>
              <a:gd name="connsiteX71" fmla="*/ 11199600 w 11199600"/>
              <a:gd name="connsiteY71" fmla="*/ 2699732 h 5920067"/>
              <a:gd name="connsiteX72" fmla="*/ 11199600 w 11199600"/>
              <a:gd name="connsiteY72" fmla="*/ 2763831 h 5920067"/>
              <a:gd name="connsiteX73" fmla="*/ 11199600 w 11199600"/>
              <a:gd name="connsiteY73" fmla="*/ 2801851 h 5920067"/>
              <a:gd name="connsiteX74" fmla="*/ 11199600 w 11199600"/>
              <a:gd name="connsiteY74" fmla="*/ 2819097 h 5920067"/>
              <a:gd name="connsiteX75" fmla="*/ 11199600 w 11199600"/>
              <a:gd name="connsiteY75" fmla="*/ 2928965 h 5920067"/>
              <a:gd name="connsiteX76" fmla="*/ 11199600 w 11199600"/>
              <a:gd name="connsiteY76" fmla="*/ 2973972 h 5920067"/>
              <a:gd name="connsiteX77" fmla="*/ 11199600 w 11199600"/>
              <a:gd name="connsiteY77" fmla="*/ 3093337 h 5920067"/>
              <a:gd name="connsiteX78" fmla="*/ 11199600 w 11199600"/>
              <a:gd name="connsiteY78" fmla="*/ 3132995 h 5920067"/>
              <a:gd name="connsiteX79" fmla="*/ 11199600 w 11199600"/>
              <a:gd name="connsiteY79" fmla="*/ 3178119 h 5920067"/>
              <a:gd name="connsiteX80" fmla="*/ 11199600 w 11199600"/>
              <a:gd name="connsiteY80" fmla="*/ 3203205 h 5920067"/>
              <a:gd name="connsiteX81" fmla="*/ 11199600 w 11199600"/>
              <a:gd name="connsiteY81" fmla="*/ 3407236 h 5920067"/>
              <a:gd name="connsiteX82" fmla="*/ 11199600 w 11199600"/>
              <a:gd name="connsiteY82" fmla="*/ 3448024 h 5920067"/>
              <a:gd name="connsiteX83" fmla="*/ 11199600 w 11199600"/>
              <a:gd name="connsiteY83" fmla="*/ 3452359 h 5920067"/>
              <a:gd name="connsiteX84" fmla="*/ 11199600 w 11199600"/>
              <a:gd name="connsiteY84" fmla="*/ 3470135 h 5920067"/>
              <a:gd name="connsiteX85" fmla="*/ 11199600 w 11199600"/>
              <a:gd name="connsiteY85" fmla="*/ 3722265 h 5920067"/>
              <a:gd name="connsiteX86" fmla="*/ 11199600 w 11199600"/>
              <a:gd name="connsiteY86" fmla="*/ 3739511 h 5920067"/>
              <a:gd name="connsiteX87" fmla="*/ 11199600 w 11199600"/>
              <a:gd name="connsiteY87" fmla="*/ 3744375 h 5920067"/>
              <a:gd name="connsiteX88" fmla="*/ 11199600 w 11199600"/>
              <a:gd name="connsiteY88" fmla="*/ 3831346 h 5920067"/>
              <a:gd name="connsiteX89" fmla="*/ 11199600 w 11199600"/>
              <a:gd name="connsiteY89" fmla="*/ 4013751 h 5920067"/>
              <a:gd name="connsiteX90" fmla="*/ 11199600 w 11199600"/>
              <a:gd name="connsiteY90" fmla="*/ 4053409 h 5920067"/>
              <a:gd name="connsiteX91" fmla="*/ 11199600 w 11199600"/>
              <a:gd name="connsiteY91" fmla="*/ 4105586 h 5920067"/>
              <a:gd name="connsiteX92" fmla="*/ 11199600 w 11199600"/>
              <a:gd name="connsiteY92" fmla="*/ 4217459 h 5920067"/>
              <a:gd name="connsiteX93" fmla="*/ 11199600 w 11199600"/>
              <a:gd name="connsiteY93" fmla="*/ 4327650 h 5920067"/>
              <a:gd name="connsiteX94" fmla="*/ 11199600 w 11199600"/>
              <a:gd name="connsiteY94" fmla="*/ 4390549 h 5920067"/>
              <a:gd name="connsiteX95" fmla="*/ 11199600 w 11199600"/>
              <a:gd name="connsiteY95" fmla="*/ 4491699 h 5920067"/>
              <a:gd name="connsiteX96" fmla="*/ 11199600 w 11199600"/>
              <a:gd name="connsiteY96" fmla="*/ 4629303 h 5920067"/>
              <a:gd name="connsiteX97" fmla="*/ 11199600 w 11199600"/>
              <a:gd name="connsiteY97" fmla="*/ 4664789 h 5920067"/>
              <a:gd name="connsiteX98" fmla="*/ 11199600 w 11199600"/>
              <a:gd name="connsiteY98" fmla="*/ 4751760 h 5920067"/>
              <a:gd name="connsiteX99" fmla="*/ 11199600 w 11199600"/>
              <a:gd name="connsiteY99" fmla="*/ 4903543 h 5920067"/>
              <a:gd name="connsiteX100" fmla="*/ 11199600 w 11199600"/>
              <a:gd name="connsiteY100" fmla="*/ 5026000 h 5920067"/>
              <a:gd name="connsiteX101" fmla="*/ 11199600 w 11199600"/>
              <a:gd name="connsiteY101" fmla="*/ 5137873 h 5920067"/>
              <a:gd name="connsiteX102" fmla="*/ 11199600 w 11199600"/>
              <a:gd name="connsiteY102" fmla="*/ 5412113 h 5920067"/>
              <a:gd name="connsiteX103" fmla="*/ 11199600 w 11199600"/>
              <a:gd name="connsiteY103" fmla="*/ 5549717 h 5920067"/>
              <a:gd name="connsiteX104" fmla="*/ 11199600 w 11199600"/>
              <a:gd name="connsiteY104" fmla="*/ 5823957 h 5920067"/>
              <a:gd name="connsiteX105" fmla="*/ 11103603 w 11199600"/>
              <a:gd name="connsiteY105" fmla="*/ 5920067 h 5920067"/>
              <a:gd name="connsiteX106" fmla="*/ 95997 w 11199600"/>
              <a:gd name="connsiteY106" fmla="*/ 5920067 h 5920067"/>
              <a:gd name="connsiteX107" fmla="*/ 0 w 11199600"/>
              <a:gd name="connsiteY107" fmla="*/ 5823957 h 5920067"/>
              <a:gd name="connsiteX108" fmla="*/ 0 w 11199600"/>
              <a:gd name="connsiteY108" fmla="*/ 5820222 h 5920067"/>
              <a:gd name="connsiteX109" fmla="*/ 0 w 11199600"/>
              <a:gd name="connsiteY109" fmla="*/ 5811351 h 5920067"/>
              <a:gd name="connsiteX110" fmla="*/ 0 w 11199600"/>
              <a:gd name="connsiteY110" fmla="*/ 5794075 h 5920067"/>
              <a:gd name="connsiteX111" fmla="*/ 0 w 11199600"/>
              <a:gd name="connsiteY111" fmla="*/ 5765594 h 5920067"/>
              <a:gd name="connsiteX112" fmla="*/ 0 w 11199600"/>
              <a:gd name="connsiteY112" fmla="*/ 5723106 h 5920067"/>
              <a:gd name="connsiteX113" fmla="*/ 0 w 11199600"/>
              <a:gd name="connsiteY113" fmla="*/ 5663809 h 5920067"/>
              <a:gd name="connsiteX114" fmla="*/ 0 w 11199600"/>
              <a:gd name="connsiteY114" fmla="*/ 5584902 h 5920067"/>
              <a:gd name="connsiteX115" fmla="*/ 0 w 11199600"/>
              <a:gd name="connsiteY115" fmla="*/ 5549717 h 5920067"/>
              <a:gd name="connsiteX116" fmla="*/ 0 w 11199600"/>
              <a:gd name="connsiteY116" fmla="*/ 5548611 h 5920067"/>
              <a:gd name="connsiteX117" fmla="*/ 0 w 11199600"/>
              <a:gd name="connsiteY117" fmla="*/ 5540863 h 5920067"/>
              <a:gd name="connsiteX118" fmla="*/ 0 w 11199600"/>
              <a:gd name="connsiteY118" fmla="*/ 5520020 h 5920067"/>
              <a:gd name="connsiteX119" fmla="*/ 0 w 11199600"/>
              <a:gd name="connsiteY119" fmla="*/ 5519835 h 5920067"/>
              <a:gd name="connsiteX120" fmla="*/ 0 w 11199600"/>
              <a:gd name="connsiteY120" fmla="*/ 5478886 h 5920067"/>
              <a:gd name="connsiteX121" fmla="*/ 0 w 11199600"/>
              <a:gd name="connsiteY121" fmla="*/ 5448866 h 5920067"/>
              <a:gd name="connsiteX122" fmla="*/ 0 w 11199600"/>
              <a:gd name="connsiteY122" fmla="*/ 5444347 h 5920067"/>
              <a:gd name="connsiteX123" fmla="*/ 0 w 11199600"/>
              <a:gd name="connsiteY123" fmla="*/ 5411375 h 5920067"/>
              <a:gd name="connsiteX124" fmla="*/ 0 w 11199600"/>
              <a:gd name="connsiteY124" fmla="*/ 5365584 h 5920067"/>
              <a:gd name="connsiteX125" fmla="*/ 0 w 11199600"/>
              <a:gd name="connsiteY125" fmla="*/ 5357053 h 5920067"/>
              <a:gd name="connsiteX126" fmla="*/ 0 w 11199600"/>
              <a:gd name="connsiteY126" fmla="*/ 5310662 h 5920067"/>
              <a:gd name="connsiteX127" fmla="*/ 0 w 11199600"/>
              <a:gd name="connsiteY127" fmla="*/ 5257308 h 5920067"/>
              <a:gd name="connsiteX128" fmla="*/ 0 w 11199600"/>
              <a:gd name="connsiteY128" fmla="*/ 5245780 h 5920067"/>
              <a:gd name="connsiteX129" fmla="*/ 0 w 11199600"/>
              <a:gd name="connsiteY129" fmla="*/ 5170107 h 5920067"/>
              <a:gd name="connsiteX130" fmla="*/ 0 w 11199600"/>
              <a:gd name="connsiteY130" fmla="*/ 5144283 h 5920067"/>
              <a:gd name="connsiteX131" fmla="*/ 0 w 11199600"/>
              <a:gd name="connsiteY131" fmla="*/ 5082813 h 5920067"/>
              <a:gd name="connsiteX132" fmla="*/ 0 w 11199600"/>
              <a:gd name="connsiteY132" fmla="*/ 5017146 h 5920067"/>
              <a:gd name="connsiteX133" fmla="*/ 0 w 11199600"/>
              <a:gd name="connsiteY133" fmla="*/ 4983068 h 5920067"/>
              <a:gd name="connsiteX134" fmla="*/ 0 w 11199600"/>
              <a:gd name="connsiteY134" fmla="*/ 4903543 h 5920067"/>
              <a:gd name="connsiteX135" fmla="*/ 0 w 11199600"/>
              <a:gd name="connsiteY135" fmla="*/ 4899808 h 5920067"/>
              <a:gd name="connsiteX136" fmla="*/ 0 w 11199600"/>
              <a:gd name="connsiteY136" fmla="*/ 4890937 h 5920067"/>
              <a:gd name="connsiteX137" fmla="*/ 0 w 11199600"/>
              <a:gd name="connsiteY137" fmla="*/ 4875069 h 5920067"/>
              <a:gd name="connsiteX138" fmla="*/ 0 w 11199600"/>
              <a:gd name="connsiteY138" fmla="*/ 4873661 h 5920067"/>
              <a:gd name="connsiteX139" fmla="*/ 0 w 11199600"/>
              <a:gd name="connsiteY139" fmla="*/ 4870043 h 5920067"/>
              <a:gd name="connsiteX140" fmla="*/ 0 w 11199600"/>
              <a:gd name="connsiteY140" fmla="*/ 4845180 h 5920067"/>
              <a:gd name="connsiteX141" fmla="*/ 0 w 11199600"/>
              <a:gd name="connsiteY141" fmla="*/ 4802692 h 5920067"/>
              <a:gd name="connsiteX142" fmla="*/ 0 w 11199600"/>
              <a:gd name="connsiteY142" fmla="*/ 4743395 h 5920067"/>
              <a:gd name="connsiteX143" fmla="*/ 0 w 11199600"/>
              <a:gd name="connsiteY143" fmla="*/ 4742906 h 5920067"/>
              <a:gd name="connsiteX144" fmla="*/ 0 w 11199600"/>
              <a:gd name="connsiteY144" fmla="*/ 4717221 h 5920067"/>
              <a:gd name="connsiteX145" fmla="*/ 0 w 11199600"/>
              <a:gd name="connsiteY145" fmla="*/ 4664488 h 5920067"/>
              <a:gd name="connsiteX146" fmla="*/ 0 w 11199600"/>
              <a:gd name="connsiteY146" fmla="*/ 4629303 h 5920067"/>
              <a:gd name="connsiteX147" fmla="*/ 0 w 11199600"/>
              <a:gd name="connsiteY147" fmla="*/ 4628197 h 5920067"/>
              <a:gd name="connsiteX148" fmla="*/ 0 w 11199600"/>
              <a:gd name="connsiteY148" fmla="*/ 4620449 h 5920067"/>
              <a:gd name="connsiteX149" fmla="*/ 0 w 11199600"/>
              <a:gd name="connsiteY149" fmla="*/ 4600829 h 5920067"/>
              <a:gd name="connsiteX150" fmla="*/ 0 w 11199600"/>
              <a:gd name="connsiteY150" fmla="*/ 4599606 h 5920067"/>
              <a:gd name="connsiteX151" fmla="*/ 0 w 11199600"/>
              <a:gd name="connsiteY151" fmla="*/ 4599421 h 5920067"/>
              <a:gd name="connsiteX152" fmla="*/ 0 w 11199600"/>
              <a:gd name="connsiteY152" fmla="*/ 4558472 h 5920067"/>
              <a:gd name="connsiteX153" fmla="*/ 0 w 11199600"/>
              <a:gd name="connsiteY153" fmla="*/ 4542771 h 5920067"/>
              <a:gd name="connsiteX154" fmla="*/ 0 w 11199600"/>
              <a:gd name="connsiteY154" fmla="*/ 4528452 h 5920067"/>
              <a:gd name="connsiteX155" fmla="*/ 0 w 11199600"/>
              <a:gd name="connsiteY155" fmla="*/ 4523933 h 5920067"/>
              <a:gd name="connsiteX156" fmla="*/ 0 w 11199600"/>
              <a:gd name="connsiteY156" fmla="*/ 4490961 h 5920067"/>
              <a:gd name="connsiteX157" fmla="*/ 0 w 11199600"/>
              <a:gd name="connsiteY157" fmla="*/ 4445170 h 5920067"/>
              <a:gd name="connsiteX158" fmla="*/ 0 w 11199600"/>
              <a:gd name="connsiteY158" fmla="*/ 4442981 h 5920067"/>
              <a:gd name="connsiteX159" fmla="*/ 0 w 11199600"/>
              <a:gd name="connsiteY159" fmla="*/ 4436639 h 5920067"/>
              <a:gd name="connsiteX160" fmla="*/ 0 w 11199600"/>
              <a:gd name="connsiteY160" fmla="*/ 4390248 h 5920067"/>
              <a:gd name="connsiteX161" fmla="*/ 0 w 11199600"/>
              <a:gd name="connsiteY161" fmla="*/ 4350891 h 5920067"/>
              <a:gd name="connsiteX162" fmla="*/ 0 w 11199600"/>
              <a:gd name="connsiteY162" fmla="*/ 4336894 h 5920067"/>
              <a:gd name="connsiteX163" fmla="*/ 0 w 11199600"/>
              <a:gd name="connsiteY163" fmla="*/ 4325366 h 5920067"/>
              <a:gd name="connsiteX164" fmla="*/ 0 w 11199600"/>
              <a:gd name="connsiteY164" fmla="*/ 4268531 h 5920067"/>
              <a:gd name="connsiteX165" fmla="*/ 0 w 11199600"/>
              <a:gd name="connsiteY165" fmla="*/ 4249693 h 5920067"/>
              <a:gd name="connsiteX166" fmla="*/ 0 w 11199600"/>
              <a:gd name="connsiteY166" fmla="*/ 4223869 h 5920067"/>
              <a:gd name="connsiteX167" fmla="*/ 0 w 11199600"/>
              <a:gd name="connsiteY167" fmla="*/ 4162399 h 5920067"/>
              <a:gd name="connsiteX168" fmla="*/ 0 w 11199600"/>
              <a:gd name="connsiteY168" fmla="*/ 4140749 h 5920067"/>
              <a:gd name="connsiteX169" fmla="*/ 0 w 11199600"/>
              <a:gd name="connsiteY169" fmla="*/ 4096732 h 5920067"/>
              <a:gd name="connsiteX170" fmla="*/ 0 w 11199600"/>
              <a:gd name="connsiteY170" fmla="*/ 4076651 h 5920067"/>
              <a:gd name="connsiteX171" fmla="*/ 0 w 11199600"/>
              <a:gd name="connsiteY171" fmla="*/ 4062654 h 5920067"/>
              <a:gd name="connsiteX172" fmla="*/ 0 w 11199600"/>
              <a:gd name="connsiteY172" fmla="*/ 3954655 h 5920067"/>
              <a:gd name="connsiteX173" fmla="*/ 0 w 11199600"/>
              <a:gd name="connsiteY173" fmla="*/ 3949629 h 5920067"/>
              <a:gd name="connsiteX174" fmla="*/ 0 w 11199600"/>
              <a:gd name="connsiteY174" fmla="*/ 3911516 h 5920067"/>
              <a:gd name="connsiteX175" fmla="*/ 0 w 11199600"/>
              <a:gd name="connsiteY175" fmla="*/ 3866509 h 5920067"/>
              <a:gd name="connsiteX176" fmla="*/ 0 w 11199600"/>
              <a:gd name="connsiteY176" fmla="*/ 3822492 h 5920067"/>
              <a:gd name="connsiteX177" fmla="*/ 0 w 11199600"/>
              <a:gd name="connsiteY177" fmla="*/ 3796807 h 5920067"/>
              <a:gd name="connsiteX178" fmla="*/ 0 w 11199600"/>
              <a:gd name="connsiteY178" fmla="*/ 3680415 h 5920067"/>
              <a:gd name="connsiteX179" fmla="*/ 0 w 11199600"/>
              <a:gd name="connsiteY179" fmla="*/ 3662362 h 5920067"/>
              <a:gd name="connsiteX180" fmla="*/ 0 w 11199600"/>
              <a:gd name="connsiteY180" fmla="*/ 3637276 h 5920067"/>
              <a:gd name="connsiteX181" fmla="*/ 0 w 11199600"/>
              <a:gd name="connsiteY181" fmla="*/ 3622357 h 5920067"/>
              <a:gd name="connsiteX182" fmla="*/ 0 w 11199600"/>
              <a:gd name="connsiteY182" fmla="*/ 3522567 h 5920067"/>
              <a:gd name="connsiteX183" fmla="*/ 0 w 11199600"/>
              <a:gd name="connsiteY183" fmla="*/ 3430477 h 5920067"/>
              <a:gd name="connsiteX184" fmla="*/ 0 w 11199600"/>
              <a:gd name="connsiteY184" fmla="*/ 3392457 h 5920067"/>
              <a:gd name="connsiteX185" fmla="*/ 0 w 11199600"/>
              <a:gd name="connsiteY185" fmla="*/ 3388122 h 5920067"/>
              <a:gd name="connsiteX186" fmla="*/ 0 w 11199600"/>
              <a:gd name="connsiteY186" fmla="*/ 3348117 h 5920067"/>
              <a:gd name="connsiteX187" fmla="*/ 0 w 11199600"/>
              <a:gd name="connsiteY187" fmla="*/ 3220335 h 5920067"/>
              <a:gd name="connsiteX188" fmla="*/ 0 w 11199600"/>
              <a:gd name="connsiteY188" fmla="*/ 3156237 h 5920067"/>
              <a:gd name="connsiteX189" fmla="*/ 0 w 11199600"/>
              <a:gd name="connsiteY189" fmla="*/ 3118217 h 5920067"/>
              <a:gd name="connsiteX190" fmla="*/ 0 w 11199600"/>
              <a:gd name="connsiteY190" fmla="*/ 3100970 h 5920067"/>
              <a:gd name="connsiteX191" fmla="*/ 0 w 11199600"/>
              <a:gd name="connsiteY191" fmla="*/ 2991102 h 5920067"/>
              <a:gd name="connsiteX192" fmla="*/ 0 w 11199600"/>
              <a:gd name="connsiteY192" fmla="*/ 2946095 h 5920067"/>
              <a:gd name="connsiteX193" fmla="*/ 0 w 11199600"/>
              <a:gd name="connsiteY193" fmla="*/ 2826730 h 5920067"/>
              <a:gd name="connsiteX194" fmla="*/ 0 w 11199600"/>
              <a:gd name="connsiteY194" fmla="*/ 2787072 h 5920067"/>
              <a:gd name="connsiteX195" fmla="*/ 0 w 11199600"/>
              <a:gd name="connsiteY195" fmla="*/ 2741948 h 5920067"/>
              <a:gd name="connsiteX196" fmla="*/ 0 w 11199600"/>
              <a:gd name="connsiteY196" fmla="*/ 2716862 h 5920067"/>
              <a:gd name="connsiteX197" fmla="*/ 0 w 11199600"/>
              <a:gd name="connsiteY197" fmla="*/ 2512832 h 5920067"/>
              <a:gd name="connsiteX198" fmla="*/ 0 w 11199600"/>
              <a:gd name="connsiteY198" fmla="*/ 2472043 h 5920067"/>
              <a:gd name="connsiteX199" fmla="*/ 0 w 11199600"/>
              <a:gd name="connsiteY199" fmla="*/ 2467708 h 5920067"/>
              <a:gd name="connsiteX200" fmla="*/ 0 w 11199600"/>
              <a:gd name="connsiteY200" fmla="*/ 2449933 h 5920067"/>
              <a:gd name="connsiteX201" fmla="*/ 0 w 11199600"/>
              <a:gd name="connsiteY201" fmla="*/ 2197803 h 5920067"/>
              <a:gd name="connsiteX202" fmla="*/ 0 w 11199600"/>
              <a:gd name="connsiteY202" fmla="*/ 2180556 h 5920067"/>
              <a:gd name="connsiteX203" fmla="*/ 0 w 11199600"/>
              <a:gd name="connsiteY203" fmla="*/ 2175692 h 5920067"/>
              <a:gd name="connsiteX204" fmla="*/ 0 w 11199600"/>
              <a:gd name="connsiteY204" fmla="*/ 2088721 h 5920067"/>
              <a:gd name="connsiteX205" fmla="*/ 0 w 11199600"/>
              <a:gd name="connsiteY205" fmla="*/ 1906316 h 5920067"/>
              <a:gd name="connsiteX206" fmla="*/ 0 w 11199600"/>
              <a:gd name="connsiteY206" fmla="*/ 1866658 h 5920067"/>
              <a:gd name="connsiteX207" fmla="*/ 0 w 11199600"/>
              <a:gd name="connsiteY207" fmla="*/ 1814481 h 5920067"/>
              <a:gd name="connsiteX208" fmla="*/ 0 w 11199600"/>
              <a:gd name="connsiteY208" fmla="*/ 1702609 h 5920067"/>
              <a:gd name="connsiteX209" fmla="*/ 0 w 11199600"/>
              <a:gd name="connsiteY209" fmla="*/ 1592418 h 5920067"/>
              <a:gd name="connsiteX210" fmla="*/ 0 w 11199600"/>
              <a:gd name="connsiteY210" fmla="*/ 1529519 h 5920067"/>
              <a:gd name="connsiteX211" fmla="*/ 0 w 11199600"/>
              <a:gd name="connsiteY211" fmla="*/ 1428369 h 5920067"/>
              <a:gd name="connsiteX212" fmla="*/ 0 w 11199600"/>
              <a:gd name="connsiteY212" fmla="*/ 1290764 h 5920067"/>
              <a:gd name="connsiteX213" fmla="*/ 0 w 11199600"/>
              <a:gd name="connsiteY213" fmla="*/ 1255278 h 5920067"/>
              <a:gd name="connsiteX214" fmla="*/ 0 w 11199600"/>
              <a:gd name="connsiteY214" fmla="*/ 1168307 h 5920067"/>
              <a:gd name="connsiteX215" fmla="*/ 0 w 11199600"/>
              <a:gd name="connsiteY215" fmla="*/ 1016524 h 5920067"/>
              <a:gd name="connsiteX216" fmla="*/ 0 w 11199600"/>
              <a:gd name="connsiteY216" fmla="*/ 894067 h 5920067"/>
              <a:gd name="connsiteX217" fmla="*/ 0 w 11199600"/>
              <a:gd name="connsiteY217" fmla="*/ 782195 h 5920067"/>
              <a:gd name="connsiteX218" fmla="*/ 0 w 11199600"/>
              <a:gd name="connsiteY218" fmla="*/ 507955 h 5920067"/>
              <a:gd name="connsiteX219" fmla="*/ 0 w 11199600"/>
              <a:gd name="connsiteY219" fmla="*/ 370350 h 5920067"/>
              <a:gd name="connsiteX220" fmla="*/ 0 w 11199600"/>
              <a:gd name="connsiteY220" fmla="*/ 96110 h 5920067"/>
              <a:gd name="connsiteX221" fmla="*/ 95997 w 11199600"/>
              <a:gd name="connsiteY221" fmla="*/ 0 h 5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</a:cxnLst>
            <a:rect l="l" t="t" r="r" b="b"/>
            <a:pathLst>
              <a:path w="11199600" h="5920067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cubicBezTo>
                  <a:pt x="11199600" y="1328117"/>
                  <a:pt x="11199600" y="1337455"/>
                  <a:pt x="11199600" y="1349128"/>
                </a:cubicBez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239653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9591"/>
                </a:lnTo>
                <a:lnTo>
                  <a:pt x="11199600" y="2527610"/>
                </a:lnTo>
                <a:lnTo>
                  <a:pt x="11199600" y="2531945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801851"/>
                </a:lnTo>
                <a:lnTo>
                  <a:pt x="11199600" y="2819097"/>
                </a:lnTo>
                <a:lnTo>
                  <a:pt x="11199600" y="2928965"/>
                </a:lnTo>
                <a:lnTo>
                  <a:pt x="11199600" y="2973972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178119"/>
                </a:lnTo>
                <a:lnTo>
                  <a:pt x="11199600" y="3203205"/>
                </a:lnTo>
                <a:lnTo>
                  <a:pt x="11199600" y="3407236"/>
                </a:lnTo>
                <a:lnTo>
                  <a:pt x="11199600" y="3448024"/>
                </a:lnTo>
                <a:lnTo>
                  <a:pt x="11199600" y="3452359"/>
                </a:lnTo>
                <a:lnTo>
                  <a:pt x="11199600" y="3470135"/>
                </a:lnTo>
                <a:lnTo>
                  <a:pt x="11199600" y="3722265"/>
                </a:lnTo>
                <a:lnTo>
                  <a:pt x="11199600" y="3739511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013751"/>
                </a:lnTo>
                <a:lnTo>
                  <a:pt x="11199600" y="4053409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327650"/>
                </a:lnTo>
                <a:lnTo>
                  <a:pt x="11199600" y="439054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664789"/>
                </a:lnTo>
                <a:lnTo>
                  <a:pt x="11199600" y="4751760"/>
                </a:lnTo>
                <a:lnTo>
                  <a:pt x="11199600" y="4903543"/>
                </a:lnTo>
                <a:lnTo>
                  <a:pt x="11199600" y="5026000"/>
                </a:lnTo>
                <a:lnTo>
                  <a:pt x="11199600" y="5137873"/>
                </a:lnTo>
                <a:lnTo>
                  <a:pt x="11199600" y="5412113"/>
                </a:lnTo>
                <a:lnTo>
                  <a:pt x="11199600" y="5549717"/>
                </a:lnTo>
                <a:lnTo>
                  <a:pt x="11199600" y="5823957"/>
                </a:lnTo>
                <a:cubicBezTo>
                  <a:pt x="11199600" y="5920067"/>
                  <a:pt x="11103603" y="5920067"/>
                  <a:pt x="11103603" y="5920067"/>
                </a:cubicBezTo>
                <a:cubicBezTo>
                  <a:pt x="11103603" y="5920067"/>
                  <a:pt x="11103603" y="5920067"/>
                  <a:pt x="95997" y="5920067"/>
                </a:cubicBezTo>
                <a:cubicBezTo>
                  <a:pt x="0" y="5920067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2">
              <a:lumMod val="20000"/>
              <a:lumOff val="80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3755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661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046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 bwMode="gray">
          <a:xfrm>
            <a:off x="5099859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222069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865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37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40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5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681039" y="6291860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7" name="Picture 36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2" name="Group 41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3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/>
            </a:p>
          </p:txBody>
        </p:sp>
        <p:sp>
          <p:nvSpPr>
            <p:cNvPr id="44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/>
                <a:t>Confidential</a:t>
              </a:r>
              <a:endParaRPr lang="en-GB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1029595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 31"/>
          <p:cNvSpPr>
            <a:spLocks noChangeAspect="1"/>
          </p:cNvSpPr>
          <p:nvPr userDrawn="1"/>
        </p:nvSpPr>
        <p:spPr bwMode="gray">
          <a:xfrm>
            <a:off x="563662" y="1695450"/>
            <a:ext cx="8646300" cy="2630915"/>
          </a:xfrm>
          <a:custGeom>
            <a:avLst/>
            <a:gdLst>
              <a:gd name="T0" fmla="*/ 2480 w 2480"/>
              <a:gd name="T1" fmla="*/ 528 h 611"/>
              <a:gd name="T2" fmla="*/ 2480 w 2480"/>
              <a:gd name="T3" fmla="*/ 32 h 611"/>
              <a:gd name="T4" fmla="*/ 2448 w 2480"/>
              <a:gd name="T5" fmla="*/ 0 h 611"/>
              <a:gd name="T6" fmla="*/ 32 w 2480"/>
              <a:gd name="T7" fmla="*/ 0 h 611"/>
              <a:gd name="T8" fmla="*/ 0 w 2480"/>
              <a:gd name="T9" fmla="*/ 32 h 611"/>
              <a:gd name="T10" fmla="*/ 0 w 2480"/>
              <a:gd name="T11" fmla="*/ 528 h 611"/>
              <a:gd name="T12" fmla="*/ 32 w 2480"/>
              <a:gd name="T13" fmla="*/ 560 h 611"/>
              <a:gd name="T14" fmla="*/ 237 w 2480"/>
              <a:gd name="T15" fmla="*/ 560 h 611"/>
              <a:gd name="T16" fmla="*/ 271 w 2480"/>
              <a:gd name="T17" fmla="*/ 604 h 611"/>
              <a:gd name="T18" fmla="*/ 289 w 2480"/>
              <a:gd name="T19" fmla="*/ 604 h 611"/>
              <a:gd name="T20" fmla="*/ 323 w 2480"/>
              <a:gd name="T21" fmla="*/ 560 h 611"/>
              <a:gd name="T22" fmla="*/ 2448 w 2480"/>
              <a:gd name="T23" fmla="*/ 560 h 611"/>
              <a:gd name="T24" fmla="*/ 2480 w 2480"/>
              <a:gd name="T25" fmla="*/ 528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480" h="611">
                <a:moveTo>
                  <a:pt x="2480" y="528"/>
                </a:moveTo>
                <a:cubicBezTo>
                  <a:pt x="2480" y="32"/>
                  <a:pt x="2480" y="32"/>
                  <a:pt x="2480" y="32"/>
                </a:cubicBezTo>
                <a:cubicBezTo>
                  <a:pt x="2480" y="32"/>
                  <a:pt x="2480" y="0"/>
                  <a:pt x="2448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2" y="0"/>
                  <a:pt x="0" y="0"/>
                  <a:pt x="0" y="32"/>
                </a:cubicBezTo>
                <a:cubicBezTo>
                  <a:pt x="0" y="528"/>
                  <a:pt x="0" y="528"/>
                  <a:pt x="0" y="528"/>
                </a:cubicBezTo>
                <a:cubicBezTo>
                  <a:pt x="0" y="528"/>
                  <a:pt x="0" y="560"/>
                  <a:pt x="32" y="560"/>
                </a:cubicBezTo>
                <a:cubicBezTo>
                  <a:pt x="237" y="560"/>
                  <a:pt x="237" y="560"/>
                  <a:pt x="237" y="560"/>
                </a:cubicBezTo>
                <a:cubicBezTo>
                  <a:pt x="271" y="604"/>
                  <a:pt x="271" y="604"/>
                  <a:pt x="271" y="604"/>
                </a:cubicBezTo>
                <a:cubicBezTo>
                  <a:pt x="276" y="611"/>
                  <a:pt x="284" y="611"/>
                  <a:pt x="289" y="604"/>
                </a:cubicBezTo>
                <a:cubicBezTo>
                  <a:pt x="323" y="560"/>
                  <a:pt x="323" y="560"/>
                  <a:pt x="323" y="560"/>
                </a:cubicBezTo>
                <a:cubicBezTo>
                  <a:pt x="2448" y="560"/>
                  <a:pt x="2448" y="560"/>
                  <a:pt x="2448" y="560"/>
                </a:cubicBezTo>
                <a:cubicBezTo>
                  <a:pt x="2448" y="560"/>
                  <a:pt x="2480" y="560"/>
                  <a:pt x="2480" y="528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952372" y="1695452"/>
            <a:ext cx="8257113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smtClean="0"/>
              <a:t>Klik om de stijl te bewerken</a:t>
            </a:r>
            <a:endParaRPr lang="en-GB" dirty="0"/>
          </a:p>
        </p:txBody>
      </p:sp>
      <p:grpSp>
        <p:nvGrpSpPr>
          <p:cNvPr id="36" name="Group 3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3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4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0525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Alt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78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0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Freeform 80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0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681039" y="6291860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70" name="Picture Placeholder 69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grpSp>
        <p:nvGrpSpPr>
          <p:cNvPr id="40" name="Group 39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1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/>
            </a:p>
          </p:txBody>
        </p:sp>
        <p:sp>
          <p:nvSpPr>
            <p:cNvPr id="42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/>
                <a:t>Confidential</a:t>
              </a:r>
              <a:endParaRPr lang="en-GB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46989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ChangeAspect="1"/>
          </p:cNvSpPr>
          <p:nvPr userDrawn="1"/>
        </p:nvSpPr>
        <p:spPr bwMode="gray">
          <a:xfrm>
            <a:off x="566241" y="1201148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29" y="1327150"/>
            <a:ext cx="8522456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8773173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Picture R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>
            <a:spLocks noChangeAspect="1"/>
          </p:cNvSpPr>
          <p:nvPr userDrawn="1"/>
        </p:nvSpPr>
        <p:spPr bwMode="gray">
          <a:xfrm>
            <a:off x="566241" y="1201148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31" y="1327149"/>
            <a:ext cx="4864458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5928122" y="1201147"/>
            <a:ext cx="3737794" cy="4999652"/>
          </a:xfrm>
          <a:custGeom>
            <a:avLst/>
            <a:gdLst>
              <a:gd name="connsiteX0" fmla="*/ 0 w 4600362"/>
              <a:gd name="connsiteY0" fmla="*/ 0 h 4999652"/>
              <a:gd name="connsiteX1" fmla="*/ 4504373 w 4600362"/>
              <a:gd name="connsiteY1" fmla="*/ 0 h 4999652"/>
              <a:gd name="connsiteX2" fmla="*/ 4536051 w 4600362"/>
              <a:gd name="connsiteY2" fmla="*/ 4129 h 4999652"/>
              <a:gd name="connsiteX3" fmla="*/ 4600362 w 4600362"/>
              <a:gd name="connsiteY3" fmla="*/ 96109 h 4999652"/>
              <a:gd name="connsiteX4" fmla="*/ 4600362 w 4600362"/>
              <a:gd name="connsiteY4" fmla="*/ 335164 h 4999652"/>
              <a:gd name="connsiteX5" fmla="*/ 4600362 w 4600362"/>
              <a:gd name="connsiteY5" fmla="*/ 370349 h 4999652"/>
              <a:gd name="connsiteX6" fmla="*/ 4600362 w 4600362"/>
              <a:gd name="connsiteY6" fmla="*/ 379203 h 4999652"/>
              <a:gd name="connsiteX7" fmla="*/ 4600362 w 4600362"/>
              <a:gd name="connsiteY7" fmla="*/ 400047 h 4999652"/>
              <a:gd name="connsiteX8" fmla="*/ 4600362 w 4600362"/>
              <a:gd name="connsiteY8" fmla="*/ 400231 h 4999652"/>
              <a:gd name="connsiteX9" fmla="*/ 4600362 w 4600362"/>
              <a:gd name="connsiteY9" fmla="*/ 471201 h 4999652"/>
              <a:gd name="connsiteX10" fmla="*/ 4600362 w 4600362"/>
              <a:gd name="connsiteY10" fmla="*/ 475720 h 4999652"/>
              <a:gd name="connsiteX11" fmla="*/ 4600362 w 4600362"/>
              <a:gd name="connsiteY11" fmla="*/ 508691 h 4999652"/>
              <a:gd name="connsiteX12" fmla="*/ 4600362 w 4600362"/>
              <a:gd name="connsiteY12" fmla="*/ 554483 h 4999652"/>
              <a:gd name="connsiteX13" fmla="*/ 4600362 w 4600362"/>
              <a:gd name="connsiteY13" fmla="*/ 563014 h 4999652"/>
              <a:gd name="connsiteX14" fmla="*/ 4600362 w 4600362"/>
              <a:gd name="connsiteY14" fmla="*/ 609404 h 4999652"/>
              <a:gd name="connsiteX15" fmla="*/ 4600362 w 4600362"/>
              <a:gd name="connsiteY15" fmla="*/ 662758 h 4999652"/>
              <a:gd name="connsiteX16" fmla="*/ 4600362 w 4600362"/>
              <a:gd name="connsiteY16" fmla="*/ 674287 h 4999652"/>
              <a:gd name="connsiteX17" fmla="*/ 4600362 w 4600362"/>
              <a:gd name="connsiteY17" fmla="*/ 749960 h 4999652"/>
              <a:gd name="connsiteX18" fmla="*/ 4600362 w 4600362"/>
              <a:gd name="connsiteY18" fmla="*/ 775784 h 4999652"/>
              <a:gd name="connsiteX19" fmla="*/ 4600362 w 4600362"/>
              <a:gd name="connsiteY19" fmla="*/ 837254 h 4999652"/>
              <a:gd name="connsiteX20" fmla="*/ 4600362 w 4600362"/>
              <a:gd name="connsiteY20" fmla="*/ 902920 h 4999652"/>
              <a:gd name="connsiteX21" fmla="*/ 4600362 w 4600362"/>
              <a:gd name="connsiteY21" fmla="*/ 936998 h 4999652"/>
              <a:gd name="connsiteX22" fmla="*/ 4600362 w 4600362"/>
              <a:gd name="connsiteY22" fmla="*/ 1044998 h 4999652"/>
              <a:gd name="connsiteX23" fmla="*/ 4600362 w 4600362"/>
              <a:gd name="connsiteY23" fmla="*/ 1050024 h 4999652"/>
              <a:gd name="connsiteX24" fmla="*/ 4600362 w 4600362"/>
              <a:gd name="connsiteY24" fmla="*/ 1177160 h 4999652"/>
              <a:gd name="connsiteX25" fmla="*/ 4600362 w 4600362"/>
              <a:gd name="connsiteY25" fmla="*/ 1202846 h 4999652"/>
              <a:gd name="connsiteX26" fmla="*/ 4600362 w 4600362"/>
              <a:gd name="connsiteY26" fmla="*/ 1319238 h 4999652"/>
              <a:gd name="connsiteX27" fmla="*/ 4600362 w 4600362"/>
              <a:gd name="connsiteY27" fmla="*/ 1377295 h 4999652"/>
              <a:gd name="connsiteX28" fmla="*/ 4600362 w 4600362"/>
              <a:gd name="connsiteY28" fmla="*/ 1477086 h 4999652"/>
              <a:gd name="connsiteX29" fmla="*/ 4600362 w 4600362"/>
              <a:gd name="connsiteY29" fmla="*/ 1569176 h 4999652"/>
              <a:gd name="connsiteX30" fmla="*/ 4600362 w 4600362"/>
              <a:gd name="connsiteY30" fmla="*/ 1651535 h 4999652"/>
              <a:gd name="connsiteX31" fmla="*/ 4600362 w 4600362"/>
              <a:gd name="connsiteY31" fmla="*/ 1779317 h 4999652"/>
              <a:gd name="connsiteX32" fmla="*/ 4600362 w 4600362"/>
              <a:gd name="connsiteY32" fmla="*/ 1843416 h 4999652"/>
              <a:gd name="connsiteX33" fmla="*/ 4600362 w 4600362"/>
              <a:gd name="connsiteY33" fmla="*/ 2008550 h 4999652"/>
              <a:gd name="connsiteX34" fmla="*/ 4600362 w 4600362"/>
              <a:gd name="connsiteY34" fmla="*/ 2053557 h 4999652"/>
              <a:gd name="connsiteX35" fmla="*/ 4600362 w 4600362"/>
              <a:gd name="connsiteY35" fmla="*/ 2257704 h 4999652"/>
              <a:gd name="connsiteX36" fmla="*/ 4600362 w 4600362"/>
              <a:gd name="connsiteY36" fmla="*/ 2282790 h 4999652"/>
              <a:gd name="connsiteX37" fmla="*/ 4600362 w 4600362"/>
              <a:gd name="connsiteY37" fmla="*/ 2527609 h 4999652"/>
              <a:gd name="connsiteX38" fmla="*/ 4600362 w 4600362"/>
              <a:gd name="connsiteY38" fmla="*/ 2531944 h 4999652"/>
              <a:gd name="connsiteX39" fmla="*/ 4600362 w 4600362"/>
              <a:gd name="connsiteY39" fmla="*/ 2801850 h 4999652"/>
              <a:gd name="connsiteX40" fmla="*/ 4600362 w 4600362"/>
              <a:gd name="connsiteY40" fmla="*/ 2819096 h 4999652"/>
              <a:gd name="connsiteX41" fmla="*/ 4600362 w 4600362"/>
              <a:gd name="connsiteY41" fmla="*/ 3093336 h 4999652"/>
              <a:gd name="connsiteX42" fmla="*/ 4600362 w 4600362"/>
              <a:gd name="connsiteY42" fmla="*/ 3132994 h 4999652"/>
              <a:gd name="connsiteX43" fmla="*/ 4600362 w 4600362"/>
              <a:gd name="connsiteY43" fmla="*/ 3407235 h 4999652"/>
              <a:gd name="connsiteX44" fmla="*/ 4600362 w 4600362"/>
              <a:gd name="connsiteY44" fmla="*/ 3470134 h 4999652"/>
              <a:gd name="connsiteX45" fmla="*/ 4600362 w 4600362"/>
              <a:gd name="connsiteY45" fmla="*/ 3744374 h 4999652"/>
              <a:gd name="connsiteX46" fmla="*/ 4600362 w 4600362"/>
              <a:gd name="connsiteY46" fmla="*/ 3831345 h 4999652"/>
              <a:gd name="connsiteX47" fmla="*/ 4600362 w 4600362"/>
              <a:gd name="connsiteY47" fmla="*/ 4105585 h 4999652"/>
              <a:gd name="connsiteX48" fmla="*/ 4600362 w 4600362"/>
              <a:gd name="connsiteY48" fmla="*/ 4217458 h 4999652"/>
              <a:gd name="connsiteX49" fmla="*/ 4600362 w 4600362"/>
              <a:gd name="connsiteY49" fmla="*/ 4491698 h 4999652"/>
              <a:gd name="connsiteX50" fmla="*/ 4600362 w 4600362"/>
              <a:gd name="connsiteY50" fmla="*/ 4629302 h 4999652"/>
              <a:gd name="connsiteX51" fmla="*/ 4600362 w 4600362"/>
              <a:gd name="connsiteY51" fmla="*/ 4903542 h 4999652"/>
              <a:gd name="connsiteX52" fmla="*/ 4504365 w 4600362"/>
              <a:gd name="connsiteY52" fmla="*/ 4999652 h 4999652"/>
              <a:gd name="connsiteX53" fmla="*/ 144766 w 4600362"/>
              <a:gd name="connsiteY53" fmla="*/ 4999652 h 4999652"/>
              <a:gd name="connsiteX54" fmla="*/ 0 w 4600362"/>
              <a:gd name="connsiteY54" fmla="*/ 4999652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4600362" h="4999652">
                <a:moveTo>
                  <a:pt x="0" y="0"/>
                </a:moveTo>
                <a:lnTo>
                  <a:pt x="4504373" y="0"/>
                </a:lnTo>
                <a:lnTo>
                  <a:pt x="4536051" y="4129"/>
                </a:lnTo>
                <a:cubicBezTo>
                  <a:pt x="4600362" y="22525"/>
                  <a:pt x="4600362" y="96109"/>
                  <a:pt x="4600362" y="96109"/>
                </a:cubicBezTo>
                <a:cubicBezTo>
                  <a:pt x="4600362" y="96109"/>
                  <a:pt x="4600362" y="96109"/>
                  <a:pt x="4600362" y="335164"/>
                </a:cubicBezTo>
                <a:lnTo>
                  <a:pt x="4600362" y="370349"/>
                </a:lnTo>
                <a:cubicBezTo>
                  <a:pt x="4600362" y="370349"/>
                  <a:pt x="4600362" y="370349"/>
                  <a:pt x="4600362" y="379203"/>
                </a:cubicBezTo>
                <a:lnTo>
                  <a:pt x="4600362" y="400047"/>
                </a:lnTo>
                <a:lnTo>
                  <a:pt x="4600362" y="400231"/>
                </a:lnTo>
                <a:cubicBezTo>
                  <a:pt x="4600362" y="415172"/>
                  <a:pt x="4600362" y="437584"/>
                  <a:pt x="4600362" y="471201"/>
                </a:cubicBezTo>
                <a:lnTo>
                  <a:pt x="4600362" y="475720"/>
                </a:lnTo>
                <a:lnTo>
                  <a:pt x="4600362" y="508691"/>
                </a:lnTo>
                <a:cubicBezTo>
                  <a:pt x="4600362" y="522526"/>
                  <a:pt x="4600362" y="537743"/>
                  <a:pt x="4600362" y="554483"/>
                </a:cubicBezTo>
                <a:lnTo>
                  <a:pt x="4600362" y="563014"/>
                </a:lnTo>
                <a:lnTo>
                  <a:pt x="4600362" y="609404"/>
                </a:lnTo>
                <a:lnTo>
                  <a:pt x="4600362" y="662758"/>
                </a:lnTo>
                <a:lnTo>
                  <a:pt x="4600362" y="674287"/>
                </a:lnTo>
                <a:cubicBezTo>
                  <a:pt x="4600362" y="697667"/>
                  <a:pt x="4600362" y="722845"/>
                  <a:pt x="4600362" y="749960"/>
                </a:cubicBezTo>
                <a:lnTo>
                  <a:pt x="4600362" y="775784"/>
                </a:lnTo>
                <a:lnTo>
                  <a:pt x="4600362" y="837254"/>
                </a:lnTo>
                <a:lnTo>
                  <a:pt x="4600362" y="902920"/>
                </a:lnTo>
                <a:lnTo>
                  <a:pt x="4600362" y="936998"/>
                </a:lnTo>
                <a:lnTo>
                  <a:pt x="4600362" y="1044998"/>
                </a:lnTo>
                <a:lnTo>
                  <a:pt x="4600362" y="1050024"/>
                </a:lnTo>
                <a:cubicBezTo>
                  <a:pt x="4600362" y="1090005"/>
                  <a:pt x="4600362" y="1132337"/>
                  <a:pt x="4600362" y="1177160"/>
                </a:cubicBezTo>
                <a:lnTo>
                  <a:pt x="4600362" y="1202846"/>
                </a:lnTo>
                <a:lnTo>
                  <a:pt x="4600362" y="1319238"/>
                </a:lnTo>
                <a:lnTo>
                  <a:pt x="4600362" y="1377295"/>
                </a:lnTo>
                <a:lnTo>
                  <a:pt x="4600362" y="1477086"/>
                </a:lnTo>
                <a:lnTo>
                  <a:pt x="4600362" y="1569176"/>
                </a:lnTo>
                <a:lnTo>
                  <a:pt x="4600362" y="1651535"/>
                </a:lnTo>
                <a:lnTo>
                  <a:pt x="4600362" y="1779317"/>
                </a:lnTo>
                <a:lnTo>
                  <a:pt x="4600362" y="1843416"/>
                </a:lnTo>
                <a:lnTo>
                  <a:pt x="4600362" y="2008550"/>
                </a:lnTo>
                <a:lnTo>
                  <a:pt x="4600362" y="2053557"/>
                </a:lnTo>
                <a:lnTo>
                  <a:pt x="4600362" y="2257704"/>
                </a:lnTo>
                <a:lnTo>
                  <a:pt x="4600362" y="2282790"/>
                </a:lnTo>
                <a:lnTo>
                  <a:pt x="4600362" y="2527609"/>
                </a:lnTo>
                <a:lnTo>
                  <a:pt x="4600362" y="2531944"/>
                </a:lnTo>
                <a:cubicBezTo>
                  <a:pt x="4600362" y="2618408"/>
                  <a:pt x="4600362" y="2708330"/>
                  <a:pt x="4600362" y="2801850"/>
                </a:cubicBezTo>
                <a:lnTo>
                  <a:pt x="4600362" y="2819096"/>
                </a:lnTo>
                <a:lnTo>
                  <a:pt x="4600362" y="3093336"/>
                </a:lnTo>
                <a:lnTo>
                  <a:pt x="4600362" y="3132994"/>
                </a:lnTo>
                <a:lnTo>
                  <a:pt x="4600362" y="3407235"/>
                </a:lnTo>
                <a:lnTo>
                  <a:pt x="4600362" y="3470134"/>
                </a:lnTo>
                <a:lnTo>
                  <a:pt x="4600362" y="3744374"/>
                </a:lnTo>
                <a:lnTo>
                  <a:pt x="4600362" y="3831345"/>
                </a:lnTo>
                <a:lnTo>
                  <a:pt x="4600362" y="4105585"/>
                </a:lnTo>
                <a:lnTo>
                  <a:pt x="4600362" y="4217458"/>
                </a:lnTo>
                <a:lnTo>
                  <a:pt x="4600362" y="4491698"/>
                </a:lnTo>
                <a:lnTo>
                  <a:pt x="4600362" y="4629302"/>
                </a:lnTo>
                <a:lnTo>
                  <a:pt x="4600362" y="4903542"/>
                </a:lnTo>
                <a:cubicBezTo>
                  <a:pt x="4600362" y="4999652"/>
                  <a:pt x="4504365" y="4999652"/>
                  <a:pt x="4504365" y="4999652"/>
                </a:cubicBezTo>
                <a:cubicBezTo>
                  <a:pt x="4504365" y="4999652"/>
                  <a:pt x="4504365" y="4999652"/>
                  <a:pt x="144766" y="4999652"/>
                </a:cubicBezTo>
                <a:lnTo>
                  <a:pt x="0" y="4999652"/>
                </a:lnTo>
                <a:close/>
              </a:path>
            </a:pathLst>
          </a:custGeom>
          <a:noFill/>
        </p:spPr>
        <p:txBody>
          <a:bodyPr wrap="square" tIns="108000">
            <a:noAutofit/>
          </a:bodyPr>
          <a:lstStyle/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9674146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4308" userDrawn="1">
          <p15:clr>
            <a:srgbClr val="FBAE40"/>
          </p15:clr>
        </p15:guide>
        <p15:guide id="2" pos="4596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eform 9"/>
          <p:cNvSpPr>
            <a:spLocks noChangeAspect="1"/>
          </p:cNvSpPr>
          <p:nvPr userDrawn="1"/>
        </p:nvSpPr>
        <p:spPr bwMode="gray">
          <a:xfrm>
            <a:off x="0" y="1695450"/>
            <a:ext cx="9222525" cy="2382290"/>
          </a:xfrm>
          <a:custGeom>
            <a:avLst/>
            <a:gdLst>
              <a:gd name="T0" fmla="*/ 0 w 2680"/>
              <a:gd name="T1" fmla="*/ 560 h 560"/>
              <a:gd name="T2" fmla="*/ 2648 w 2680"/>
              <a:gd name="T3" fmla="*/ 560 h 560"/>
              <a:gd name="T4" fmla="*/ 2680 w 2680"/>
              <a:gd name="T5" fmla="*/ 528 h 560"/>
              <a:gd name="T6" fmla="*/ 2680 w 2680"/>
              <a:gd name="T7" fmla="*/ 32 h 560"/>
              <a:gd name="T8" fmla="*/ 2648 w 2680"/>
              <a:gd name="T9" fmla="*/ 0 h 560"/>
              <a:gd name="T10" fmla="*/ 0 w 2680"/>
              <a:gd name="T11" fmla="*/ 0 h 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80" h="560">
                <a:moveTo>
                  <a:pt x="0" y="560"/>
                </a:moveTo>
                <a:cubicBezTo>
                  <a:pt x="2648" y="560"/>
                  <a:pt x="2648" y="560"/>
                  <a:pt x="2648" y="560"/>
                </a:cubicBezTo>
                <a:cubicBezTo>
                  <a:pt x="2648" y="560"/>
                  <a:pt x="2680" y="560"/>
                  <a:pt x="2680" y="528"/>
                </a:cubicBezTo>
                <a:cubicBezTo>
                  <a:pt x="2680" y="32"/>
                  <a:pt x="2680" y="32"/>
                  <a:pt x="2680" y="32"/>
                </a:cubicBezTo>
                <a:cubicBezTo>
                  <a:pt x="2680" y="32"/>
                  <a:pt x="2680" y="0"/>
                  <a:pt x="2648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684477" y="1695454"/>
            <a:ext cx="8379482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5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7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9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0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1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2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4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6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8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30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04871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7"/>
          <p:cNvSpPr>
            <a:spLocks noGrp="1"/>
          </p:cNvSpPr>
          <p:nvPr>
            <p:ph type="pic" sz="quarter" idx="16"/>
          </p:nvPr>
        </p:nvSpPr>
        <p:spPr bwMode="gray">
          <a:xfrm>
            <a:off x="566241" y="1696718"/>
            <a:ext cx="9099675" cy="4504080"/>
          </a:xfrm>
          <a:custGeom>
            <a:avLst/>
            <a:gdLst>
              <a:gd name="connsiteX0" fmla="*/ 95997 w 11199600"/>
              <a:gd name="connsiteY0" fmla="*/ 0 h 4504080"/>
              <a:gd name="connsiteX1" fmla="*/ 11103603 w 11199600"/>
              <a:gd name="connsiteY1" fmla="*/ 0 h 4504080"/>
              <a:gd name="connsiteX2" fmla="*/ 11199600 w 11199600"/>
              <a:gd name="connsiteY2" fmla="*/ 96110 h 4504080"/>
              <a:gd name="connsiteX3" fmla="*/ 11199600 w 11199600"/>
              <a:gd name="connsiteY3" fmla="*/ 335165 h 4504080"/>
              <a:gd name="connsiteX4" fmla="*/ 11199600 w 11199600"/>
              <a:gd name="connsiteY4" fmla="*/ 370350 h 4504080"/>
              <a:gd name="connsiteX5" fmla="*/ 11199600 w 11199600"/>
              <a:gd name="connsiteY5" fmla="*/ 379204 h 4504080"/>
              <a:gd name="connsiteX6" fmla="*/ 11199600 w 11199600"/>
              <a:gd name="connsiteY6" fmla="*/ 400048 h 4504080"/>
              <a:gd name="connsiteX7" fmla="*/ 11199600 w 11199600"/>
              <a:gd name="connsiteY7" fmla="*/ 400232 h 4504080"/>
              <a:gd name="connsiteX8" fmla="*/ 11199600 w 11199600"/>
              <a:gd name="connsiteY8" fmla="*/ 471202 h 4504080"/>
              <a:gd name="connsiteX9" fmla="*/ 11199600 w 11199600"/>
              <a:gd name="connsiteY9" fmla="*/ 475721 h 4504080"/>
              <a:gd name="connsiteX10" fmla="*/ 11199600 w 11199600"/>
              <a:gd name="connsiteY10" fmla="*/ 508692 h 4504080"/>
              <a:gd name="connsiteX11" fmla="*/ 11199600 w 11199600"/>
              <a:gd name="connsiteY11" fmla="*/ 554484 h 4504080"/>
              <a:gd name="connsiteX12" fmla="*/ 11199600 w 11199600"/>
              <a:gd name="connsiteY12" fmla="*/ 563015 h 4504080"/>
              <a:gd name="connsiteX13" fmla="*/ 11199600 w 11199600"/>
              <a:gd name="connsiteY13" fmla="*/ 609405 h 4504080"/>
              <a:gd name="connsiteX14" fmla="*/ 11199600 w 11199600"/>
              <a:gd name="connsiteY14" fmla="*/ 662759 h 4504080"/>
              <a:gd name="connsiteX15" fmla="*/ 11199600 w 11199600"/>
              <a:gd name="connsiteY15" fmla="*/ 674288 h 4504080"/>
              <a:gd name="connsiteX16" fmla="*/ 11199600 w 11199600"/>
              <a:gd name="connsiteY16" fmla="*/ 749961 h 4504080"/>
              <a:gd name="connsiteX17" fmla="*/ 11199600 w 11199600"/>
              <a:gd name="connsiteY17" fmla="*/ 775785 h 4504080"/>
              <a:gd name="connsiteX18" fmla="*/ 11199600 w 11199600"/>
              <a:gd name="connsiteY18" fmla="*/ 837255 h 4504080"/>
              <a:gd name="connsiteX19" fmla="*/ 11199600 w 11199600"/>
              <a:gd name="connsiteY19" fmla="*/ 902921 h 4504080"/>
              <a:gd name="connsiteX20" fmla="*/ 11199600 w 11199600"/>
              <a:gd name="connsiteY20" fmla="*/ 936999 h 4504080"/>
              <a:gd name="connsiteX21" fmla="*/ 11199600 w 11199600"/>
              <a:gd name="connsiteY21" fmla="*/ 1044999 h 4504080"/>
              <a:gd name="connsiteX22" fmla="*/ 11199600 w 11199600"/>
              <a:gd name="connsiteY22" fmla="*/ 1050025 h 4504080"/>
              <a:gd name="connsiteX23" fmla="*/ 11199600 w 11199600"/>
              <a:gd name="connsiteY23" fmla="*/ 1177161 h 4504080"/>
              <a:gd name="connsiteX24" fmla="*/ 11199600 w 11199600"/>
              <a:gd name="connsiteY24" fmla="*/ 1202847 h 4504080"/>
              <a:gd name="connsiteX25" fmla="*/ 11199600 w 11199600"/>
              <a:gd name="connsiteY25" fmla="*/ 1319239 h 4504080"/>
              <a:gd name="connsiteX26" fmla="*/ 11199600 w 11199600"/>
              <a:gd name="connsiteY26" fmla="*/ 1377296 h 4504080"/>
              <a:gd name="connsiteX27" fmla="*/ 11199600 w 11199600"/>
              <a:gd name="connsiteY27" fmla="*/ 1477087 h 4504080"/>
              <a:gd name="connsiteX28" fmla="*/ 11199600 w 11199600"/>
              <a:gd name="connsiteY28" fmla="*/ 1569177 h 4504080"/>
              <a:gd name="connsiteX29" fmla="*/ 11199600 w 11199600"/>
              <a:gd name="connsiteY29" fmla="*/ 1626118 h 4504080"/>
              <a:gd name="connsiteX30" fmla="*/ 11199600 w 11199600"/>
              <a:gd name="connsiteY30" fmla="*/ 1651536 h 4504080"/>
              <a:gd name="connsiteX31" fmla="*/ 11199600 w 11199600"/>
              <a:gd name="connsiteY31" fmla="*/ 1762133 h 4504080"/>
              <a:gd name="connsiteX32" fmla="*/ 11199600 w 11199600"/>
              <a:gd name="connsiteY32" fmla="*/ 1779318 h 4504080"/>
              <a:gd name="connsiteX33" fmla="*/ 11199600 w 11199600"/>
              <a:gd name="connsiteY33" fmla="*/ 1787219 h 4504080"/>
              <a:gd name="connsiteX34" fmla="*/ 11199600 w 11199600"/>
              <a:gd name="connsiteY34" fmla="*/ 1843417 h 4504080"/>
              <a:gd name="connsiteX35" fmla="*/ 11199600 w 11199600"/>
              <a:gd name="connsiteY35" fmla="*/ 1984894 h 4504080"/>
              <a:gd name="connsiteX36" fmla="*/ 11199600 w 11199600"/>
              <a:gd name="connsiteY36" fmla="*/ 2032038 h 4504080"/>
              <a:gd name="connsiteX37" fmla="*/ 11199600 w 11199600"/>
              <a:gd name="connsiteY37" fmla="*/ 2036373 h 4504080"/>
              <a:gd name="connsiteX38" fmla="*/ 11199600 w 11199600"/>
              <a:gd name="connsiteY38" fmla="*/ 2306279 h 4504080"/>
              <a:gd name="connsiteX39" fmla="*/ 11199600 w 11199600"/>
              <a:gd name="connsiteY39" fmla="*/ 2323525 h 4504080"/>
              <a:gd name="connsiteX40" fmla="*/ 11199600 w 11199600"/>
              <a:gd name="connsiteY40" fmla="*/ 2597765 h 4504080"/>
              <a:gd name="connsiteX41" fmla="*/ 11199600 w 11199600"/>
              <a:gd name="connsiteY41" fmla="*/ 2637423 h 4504080"/>
              <a:gd name="connsiteX42" fmla="*/ 11199600 w 11199600"/>
              <a:gd name="connsiteY42" fmla="*/ 2911664 h 4504080"/>
              <a:gd name="connsiteX43" fmla="*/ 11199600 w 11199600"/>
              <a:gd name="connsiteY43" fmla="*/ 2974563 h 4504080"/>
              <a:gd name="connsiteX44" fmla="*/ 11199600 w 11199600"/>
              <a:gd name="connsiteY44" fmla="*/ 3248803 h 4504080"/>
              <a:gd name="connsiteX45" fmla="*/ 11199600 w 11199600"/>
              <a:gd name="connsiteY45" fmla="*/ 3335774 h 4504080"/>
              <a:gd name="connsiteX46" fmla="*/ 11199600 w 11199600"/>
              <a:gd name="connsiteY46" fmla="*/ 3610014 h 4504080"/>
              <a:gd name="connsiteX47" fmla="*/ 11199600 w 11199600"/>
              <a:gd name="connsiteY47" fmla="*/ 3721887 h 4504080"/>
              <a:gd name="connsiteX48" fmla="*/ 11199600 w 11199600"/>
              <a:gd name="connsiteY48" fmla="*/ 3996127 h 4504080"/>
              <a:gd name="connsiteX49" fmla="*/ 11199600 w 11199600"/>
              <a:gd name="connsiteY49" fmla="*/ 4133731 h 4504080"/>
              <a:gd name="connsiteX50" fmla="*/ 11199600 w 11199600"/>
              <a:gd name="connsiteY50" fmla="*/ 4407971 h 4504080"/>
              <a:gd name="connsiteX51" fmla="*/ 11118603 w 11199600"/>
              <a:gd name="connsiteY51" fmla="*/ 4502580 h 4504080"/>
              <a:gd name="connsiteX52" fmla="*/ 11103613 w 11199600"/>
              <a:gd name="connsiteY52" fmla="*/ 4504080 h 4504080"/>
              <a:gd name="connsiteX53" fmla="*/ 95989 w 11199600"/>
              <a:gd name="connsiteY53" fmla="*/ 4504080 h 4504080"/>
              <a:gd name="connsiteX54" fmla="*/ 64311 w 11199600"/>
              <a:gd name="connsiteY54" fmla="*/ 4499952 h 4504080"/>
              <a:gd name="connsiteX55" fmla="*/ 0 w 11199600"/>
              <a:gd name="connsiteY55" fmla="*/ 4407971 h 4504080"/>
              <a:gd name="connsiteX56" fmla="*/ 0 w 11199600"/>
              <a:gd name="connsiteY56" fmla="*/ 4404236 h 4504080"/>
              <a:gd name="connsiteX57" fmla="*/ 0 w 11199600"/>
              <a:gd name="connsiteY57" fmla="*/ 4395365 h 4504080"/>
              <a:gd name="connsiteX58" fmla="*/ 0 w 11199600"/>
              <a:gd name="connsiteY58" fmla="*/ 4378089 h 4504080"/>
              <a:gd name="connsiteX59" fmla="*/ 0 w 11199600"/>
              <a:gd name="connsiteY59" fmla="*/ 4349608 h 4504080"/>
              <a:gd name="connsiteX60" fmla="*/ 0 w 11199600"/>
              <a:gd name="connsiteY60" fmla="*/ 4307120 h 4504080"/>
              <a:gd name="connsiteX61" fmla="*/ 0 w 11199600"/>
              <a:gd name="connsiteY61" fmla="*/ 4247823 h 4504080"/>
              <a:gd name="connsiteX62" fmla="*/ 0 w 11199600"/>
              <a:gd name="connsiteY62" fmla="*/ 4168916 h 4504080"/>
              <a:gd name="connsiteX63" fmla="*/ 0 w 11199600"/>
              <a:gd name="connsiteY63" fmla="*/ 4133731 h 4504080"/>
              <a:gd name="connsiteX64" fmla="*/ 0 w 11199600"/>
              <a:gd name="connsiteY64" fmla="*/ 4132625 h 4504080"/>
              <a:gd name="connsiteX65" fmla="*/ 0 w 11199600"/>
              <a:gd name="connsiteY65" fmla="*/ 4124877 h 4504080"/>
              <a:gd name="connsiteX66" fmla="*/ 0 w 11199600"/>
              <a:gd name="connsiteY66" fmla="*/ 4104034 h 4504080"/>
              <a:gd name="connsiteX67" fmla="*/ 0 w 11199600"/>
              <a:gd name="connsiteY67" fmla="*/ 4103849 h 4504080"/>
              <a:gd name="connsiteX68" fmla="*/ 0 w 11199600"/>
              <a:gd name="connsiteY68" fmla="*/ 4062900 h 4504080"/>
              <a:gd name="connsiteX69" fmla="*/ 0 w 11199600"/>
              <a:gd name="connsiteY69" fmla="*/ 4032880 h 4504080"/>
              <a:gd name="connsiteX70" fmla="*/ 0 w 11199600"/>
              <a:gd name="connsiteY70" fmla="*/ 4028361 h 4504080"/>
              <a:gd name="connsiteX71" fmla="*/ 0 w 11199600"/>
              <a:gd name="connsiteY71" fmla="*/ 3995389 h 4504080"/>
              <a:gd name="connsiteX72" fmla="*/ 0 w 11199600"/>
              <a:gd name="connsiteY72" fmla="*/ 3949598 h 4504080"/>
              <a:gd name="connsiteX73" fmla="*/ 0 w 11199600"/>
              <a:gd name="connsiteY73" fmla="*/ 3941067 h 4504080"/>
              <a:gd name="connsiteX74" fmla="*/ 0 w 11199600"/>
              <a:gd name="connsiteY74" fmla="*/ 3894676 h 4504080"/>
              <a:gd name="connsiteX75" fmla="*/ 0 w 11199600"/>
              <a:gd name="connsiteY75" fmla="*/ 3841322 h 4504080"/>
              <a:gd name="connsiteX76" fmla="*/ 0 w 11199600"/>
              <a:gd name="connsiteY76" fmla="*/ 3829794 h 4504080"/>
              <a:gd name="connsiteX77" fmla="*/ 0 w 11199600"/>
              <a:gd name="connsiteY77" fmla="*/ 3754121 h 4504080"/>
              <a:gd name="connsiteX78" fmla="*/ 0 w 11199600"/>
              <a:gd name="connsiteY78" fmla="*/ 3728297 h 4504080"/>
              <a:gd name="connsiteX79" fmla="*/ 0 w 11199600"/>
              <a:gd name="connsiteY79" fmla="*/ 3666827 h 4504080"/>
              <a:gd name="connsiteX80" fmla="*/ 0 w 11199600"/>
              <a:gd name="connsiteY80" fmla="*/ 3601160 h 4504080"/>
              <a:gd name="connsiteX81" fmla="*/ 0 w 11199600"/>
              <a:gd name="connsiteY81" fmla="*/ 3567082 h 4504080"/>
              <a:gd name="connsiteX82" fmla="*/ 0 w 11199600"/>
              <a:gd name="connsiteY82" fmla="*/ 3459083 h 4504080"/>
              <a:gd name="connsiteX83" fmla="*/ 0 w 11199600"/>
              <a:gd name="connsiteY83" fmla="*/ 3454057 h 4504080"/>
              <a:gd name="connsiteX84" fmla="*/ 0 w 11199600"/>
              <a:gd name="connsiteY84" fmla="*/ 3326920 h 4504080"/>
              <a:gd name="connsiteX85" fmla="*/ 0 w 11199600"/>
              <a:gd name="connsiteY85" fmla="*/ 3301235 h 4504080"/>
              <a:gd name="connsiteX86" fmla="*/ 0 w 11199600"/>
              <a:gd name="connsiteY86" fmla="*/ 3184843 h 4504080"/>
              <a:gd name="connsiteX87" fmla="*/ 0 w 11199600"/>
              <a:gd name="connsiteY87" fmla="*/ 3126785 h 4504080"/>
              <a:gd name="connsiteX88" fmla="*/ 0 w 11199600"/>
              <a:gd name="connsiteY88" fmla="*/ 3026995 h 4504080"/>
              <a:gd name="connsiteX89" fmla="*/ 0 w 11199600"/>
              <a:gd name="connsiteY89" fmla="*/ 2934905 h 4504080"/>
              <a:gd name="connsiteX90" fmla="*/ 0 w 11199600"/>
              <a:gd name="connsiteY90" fmla="*/ 2852545 h 4504080"/>
              <a:gd name="connsiteX91" fmla="*/ 0 w 11199600"/>
              <a:gd name="connsiteY91" fmla="*/ 2724763 h 4504080"/>
              <a:gd name="connsiteX92" fmla="*/ 0 w 11199600"/>
              <a:gd name="connsiteY92" fmla="*/ 2660665 h 4504080"/>
              <a:gd name="connsiteX93" fmla="*/ 0 w 11199600"/>
              <a:gd name="connsiteY93" fmla="*/ 2495530 h 4504080"/>
              <a:gd name="connsiteX94" fmla="*/ 0 w 11199600"/>
              <a:gd name="connsiteY94" fmla="*/ 2450523 h 4504080"/>
              <a:gd name="connsiteX95" fmla="*/ 0 w 11199600"/>
              <a:gd name="connsiteY95" fmla="*/ 2246376 h 4504080"/>
              <a:gd name="connsiteX96" fmla="*/ 0 w 11199600"/>
              <a:gd name="connsiteY96" fmla="*/ 2221290 h 4504080"/>
              <a:gd name="connsiteX97" fmla="*/ 0 w 11199600"/>
              <a:gd name="connsiteY97" fmla="*/ 1984894 h 4504080"/>
              <a:gd name="connsiteX98" fmla="*/ 0 w 11199600"/>
              <a:gd name="connsiteY98" fmla="*/ 1976471 h 4504080"/>
              <a:gd name="connsiteX99" fmla="*/ 0 w 11199600"/>
              <a:gd name="connsiteY99" fmla="*/ 1972136 h 4504080"/>
              <a:gd name="connsiteX100" fmla="*/ 0 w 11199600"/>
              <a:gd name="connsiteY100" fmla="*/ 1906316 h 4504080"/>
              <a:gd name="connsiteX101" fmla="*/ 0 w 11199600"/>
              <a:gd name="connsiteY101" fmla="*/ 1866658 h 4504080"/>
              <a:gd name="connsiteX102" fmla="*/ 0 w 11199600"/>
              <a:gd name="connsiteY102" fmla="*/ 1702231 h 4504080"/>
              <a:gd name="connsiteX103" fmla="*/ 0 w 11199600"/>
              <a:gd name="connsiteY103" fmla="*/ 1684984 h 4504080"/>
              <a:gd name="connsiteX104" fmla="*/ 0 w 11199600"/>
              <a:gd name="connsiteY104" fmla="*/ 1626118 h 4504080"/>
              <a:gd name="connsiteX105" fmla="*/ 0 w 11199600"/>
              <a:gd name="connsiteY105" fmla="*/ 1592418 h 4504080"/>
              <a:gd name="connsiteX106" fmla="*/ 0 w 11199600"/>
              <a:gd name="connsiteY106" fmla="*/ 1529519 h 4504080"/>
              <a:gd name="connsiteX107" fmla="*/ 0 w 11199600"/>
              <a:gd name="connsiteY107" fmla="*/ 1255278 h 4504080"/>
              <a:gd name="connsiteX108" fmla="*/ 0 w 11199600"/>
              <a:gd name="connsiteY108" fmla="*/ 1168307 h 4504080"/>
              <a:gd name="connsiteX109" fmla="*/ 0 w 11199600"/>
              <a:gd name="connsiteY109" fmla="*/ 894067 h 4504080"/>
              <a:gd name="connsiteX110" fmla="*/ 0 w 11199600"/>
              <a:gd name="connsiteY110" fmla="*/ 782195 h 4504080"/>
              <a:gd name="connsiteX111" fmla="*/ 0 w 11199600"/>
              <a:gd name="connsiteY111" fmla="*/ 507955 h 4504080"/>
              <a:gd name="connsiteX112" fmla="*/ 0 w 11199600"/>
              <a:gd name="connsiteY112" fmla="*/ 370350 h 4504080"/>
              <a:gd name="connsiteX113" fmla="*/ 0 w 11199600"/>
              <a:gd name="connsiteY113" fmla="*/ 96110 h 4504080"/>
              <a:gd name="connsiteX114" fmla="*/ 95997 w 11199600"/>
              <a:gd name="connsiteY114" fmla="*/ 0 h 4504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11199600" h="4504080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26118"/>
                </a:lnTo>
                <a:lnTo>
                  <a:pt x="11199600" y="1651536"/>
                </a:lnTo>
                <a:lnTo>
                  <a:pt x="11199600" y="1762133"/>
                </a:lnTo>
                <a:lnTo>
                  <a:pt x="11199600" y="1779318"/>
                </a:lnTo>
                <a:lnTo>
                  <a:pt x="11199600" y="1787219"/>
                </a:lnTo>
                <a:lnTo>
                  <a:pt x="11199600" y="1843417"/>
                </a:lnTo>
                <a:lnTo>
                  <a:pt x="11199600" y="1984894"/>
                </a:lnTo>
                <a:lnTo>
                  <a:pt x="11199600" y="2032038"/>
                </a:lnTo>
                <a:lnTo>
                  <a:pt x="11199600" y="2036373"/>
                </a:lnTo>
                <a:cubicBezTo>
                  <a:pt x="11199600" y="2122837"/>
                  <a:pt x="11199600" y="2212759"/>
                  <a:pt x="11199600" y="2306279"/>
                </a:cubicBezTo>
                <a:lnTo>
                  <a:pt x="11199600" y="2323525"/>
                </a:lnTo>
                <a:lnTo>
                  <a:pt x="11199600" y="2597765"/>
                </a:lnTo>
                <a:lnTo>
                  <a:pt x="11199600" y="2637423"/>
                </a:lnTo>
                <a:lnTo>
                  <a:pt x="11199600" y="2911664"/>
                </a:lnTo>
                <a:lnTo>
                  <a:pt x="11199600" y="2974563"/>
                </a:lnTo>
                <a:lnTo>
                  <a:pt x="11199600" y="3248803"/>
                </a:lnTo>
                <a:lnTo>
                  <a:pt x="11199600" y="3335774"/>
                </a:lnTo>
                <a:lnTo>
                  <a:pt x="11199600" y="3610014"/>
                </a:lnTo>
                <a:lnTo>
                  <a:pt x="11199600" y="3721887"/>
                </a:lnTo>
                <a:lnTo>
                  <a:pt x="11199600" y="3996127"/>
                </a:lnTo>
                <a:lnTo>
                  <a:pt x="11199600" y="4133731"/>
                </a:lnTo>
                <a:lnTo>
                  <a:pt x="11199600" y="4407971"/>
                </a:lnTo>
                <a:cubicBezTo>
                  <a:pt x="11199600" y="4480054"/>
                  <a:pt x="11145602" y="4498074"/>
                  <a:pt x="11118603" y="4502580"/>
                </a:cubicBezTo>
                <a:lnTo>
                  <a:pt x="11103613" y="4504080"/>
                </a:lnTo>
                <a:lnTo>
                  <a:pt x="95989" y="4504080"/>
                </a:lnTo>
                <a:lnTo>
                  <a:pt x="64311" y="4499952"/>
                </a:lnTo>
                <a:cubicBezTo>
                  <a:pt x="0" y="4481555"/>
                  <a:pt x="0" y="4407971"/>
                  <a:pt x="0" y="4407971"/>
                </a:cubicBezTo>
                <a:lnTo>
                  <a:pt x="0" y="4404236"/>
                </a:lnTo>
                <a:lnTo>
                  <a:pt x="0" y="4395365"/>
                </a:lnTo>
                <a:lnTo>
                  <a:pt x="0" y="4378089"/>
                </a:lnTo>
                <a:lnTo>
                  <a:pt x="0" y="4349608"/>
                </a:lnTo>
                <a:lnTo>
                  <a:pt x="0" y="4307120"/>
                </a:lnTo>
                <a:lnTo>
                  <a:pt x="0" y="4247823"/>
                </a:lnTo>
                <a:lnTo>
                  <a:pt x="0" y="4168916"/>
                </a:lnTo>
                <a:lnTo>
                  <a:pt x="0" y="4133731"/>
                </a:lnTo>
                <a:lnTo>
                  <a:pt x="0" y="4132625"/>
                </a:lnTo>
                <a:lnTo>
                  <a:pt x="0" y="4124877"/>
                </a:lnTo>
                <a:lnTo>
                  <a:pt x="0" y="4104034"/>
                </a:lnTo>
                <a:lnTo>
                  <a:pt x="0" y="4103849"/>
                </a:lnTo>
                <a:lnTo>
                  <a:pt x="0" y="4062900"/>
                </a:lnTo>
                <a:lnTo>
                  <a:pt x="0" y="4032880"/>
                </a:lnTo>
                <a:lnTo>
                  <a:pt x="0" y="4028361"/>
                </a:lnTo>
                <a:lnTo>
                  <a:pt x="0" y="3995389"/>
                </a:lnTo>
                <a:lnTo>
                  <a:pt x="0" y="3949598"/>
                </a:lnTo>
                <a:lnTo>
                  <a:pt x="0" y="3941067"/>
                </a:lnTo>
                <a:lnTo>
                  <a:pt x="0" y="3894676"/>
                </a:lnTo>
                <a:lnTo>
                  <a:pt x="0" y="3841322"/>
                </a:lnTo>
                <a:lnTo>
                  <a:pt x="0" y="3829794"/>
                </a:lnTo>
                <a:lnTo>
                  <a:pt x="0" y="3754121"/>
                </a:lnTo>
                <a:lnTo>
                  <a:pt x="0" y="3728297"/>
                </a:lnTo>
                <a:lnTo>
                  <a:pt x="0" y="3666827"/>
                </a:lnTo>
                <a:lnTo>
                  <a:pt x="0" y="3601160"/>
                </a:lnTo>
                <a:lnTo>
                  <a:pt x="0" y="3567082"/>
                </a:lnTo>
                <a:lnTo>
                  <a:pt x="0" y="3459083"/>
                </a:lnTo>
                <a:lnTo>
                  <a:pt x="0" y="3454057"/>
                </a:lnTo>
                <a:lnTo>
                  <a:pt x="0" y="3326920"/>
                </a:lnTo>
                <a:lnTo>
                  <a:pt x="0" y="3301235"/>
                </a:lnTo>
                <a:lnTo>
                  <a:pt x="0" y="3184843"/>
                </a:lnTo>
                <a:lnTo>
                  <a:pt x="0" y="3126785"/>
                </a:lnTo>
                <a:lnTo>
                  <a:pt x="0" y="3026995"/>
                </a:lnTo>
                <a:lnTo>
                  <a:pt x="0" y="2934905"/>
                </a:lnTo>
                <a:lnTo>
                  <a:pt x="0" y="2852545"/>
                </a:lnTo>
                <a:lnTo>
                  <a:pt x="0" y="2724763"/>
                </a:lnTo>
                <a:lnTo>
                  <a:pt x="0" y="2660665"/>
                </a:lnTo>
                <a:lnTo>
                  <a:pt x="0" y="2495530"/>
                </a:lnTo>
                <a:lnTo>
                  <a:pt x="0" y="2450523"/>
                </a:lnTo>
                <a:lnTo>
                  <a:pt x="0" y="2246376"/>
                </a:lnTo>
                <a:lnTo>
                  <a:pt x="0" y="2221290"/>
                </a:lnTo>
                <a:lnTo>
                  <a:pt x="0" y="1984894"/>
                </a:lnTo>
                <a:lnTo>
                  <a:pt x="0" y="1976471"/>
                </a:lnTo>
                <a:lnTo>
                  <a:pt x="0" y="197213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702231"/>
                </a:lnTo>
                <a:lnTo>
                  <a:pt x="0" y="1684984"/>
                </a:lnTo>
                <a:lnTo>
                  <a:pt x="0" y="162611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681038" y="257725"/>
            <a:ext cx="8985697" cy="11798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ts val="4600"/>
              </a:lnSpc>
              <a:defRPr sz="4600"/>
            </a:lvl1pPr>
          </a:lstStyle>
          <a:p>
            <a:r>
              <a:rPr lang="en-US" noProof="0" smtClean="0"/>
              <a:t>Click to edit </a:t>
            </a:r>
            <a:br>
              <a:rPr lang="en-US" noProof="0" smtClean="0"/>
            </a:br>
            <a:r>
              <a:rPr lang="en-US" noProof="0" smtClean="0"/>
              <a:t>Master title style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867517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02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278384"/>
            <a:ext cx="4110234" cy="4921200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4"/>
            <a:ext cx="4109625" cy="492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889613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7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16123899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278000"/>
            <a:ext cx="4110234" cy="4929584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95906617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660381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000"/>
            <a:ext cx="4109625" cy="49295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7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88639425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23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859" y="1278003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4" name="Text Placeholder 2"/>
          <p:cNvSpPr>
            <a:spLocks noGrp="1"/>
          </p:cNvSpPr>
          <p:nvPr>
            <p:ph idx="28"/>
          </p:nvPr>
        </p:nvSpPr>
        <p:spPr bwMode="gray">
          <a:xfrm>
            <a:off x="687030" y="1278003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5" name="Content Placeholder 3"/>
          <p:cNvSpPr>
            <a:spLocks noGrp="1"/>
          </p:cNvSpPr>
          <p:nvPr>
            <p:ph sz="half" idx="29"/>
          </p:nvPr>
        </p:nvSpPr>
        <p:spPr bwMode="gray">
          <a:xfrm>
            <a:off x="5099859" y="3877594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6" name="Text Placeholder 2"/>
          <p:cNvSpPr>
            <a:spLocks noGrp="1"/>
          </p:cNvSpPr>
          <p:nvPr>
            <p:ph idx="30"/>
          </p:nvPr>
        </p:nvSpPr>
        <p:spPr bwMode="gray">
          <a:xfrm>
            <a:off x="687030" y="3877594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873246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 userDrawn="1">
          <p15:clr>
            <a:srgbClr val="FBAE40"/>
          </p15:clr>
        </p15:guide>
        <p15:guide id="0" pos="3948" userDrawn="1">
          <p15:clr>
            <a:srgbClr val="FBAE40"/>
          </p15:clr>
        </p15:guide>
        <p15:guide id="2" orient="horz" pos="2274" userDrawn="1">
          <p15:clr>
            <a:srgbClr val="FBAE40"/>
          </p15:clr>
        </p15:guide>
        <p15:guide id="3" orient="horz" pos="2442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3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1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10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4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2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10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625219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591" userDrawn="1">
          <p15:clr>
            <a:srgbClr val="FBAE40"/>
          </p15:clr>
        </p15:guide>
        <p15:guide id="2" pos="2808" userDrawn="1">
          <p15:clr>
            <a:srgbClr val="FBAE40"/>
          </p15:clr>
        </p15:guide>
        <p15:guide id="3" pos="4866" userDrawn="1">
          <p15:clr>
            <a:srgbClr val="FBAE40"/>
          </p15:clr>
        </p15:guide>
        <p15:guide id="4" pos="5082" userDrawn="1">
          <p15:clr>
            <a:srgbClr val="FBAE40"/>
          </p15:clr>
        </p15:guide>
        <p15:guide id="5" orient="horz" pos="2274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3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1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10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4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2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10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265297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622311" y="1277985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6556510" y="1277985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796988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2808">
          <p15:clr>
            <a:srgbClr val="FBAE40"/>
          </p15:clr>
        </p15:guide>
        <p15:guide id="3" pos="4866">
          <p15:clr>
            <a:srgbClr val="FBAE40"/>
          </p15:clr>
        </p15:guide>
        <p15:guide id="4" pos="5082">
          <p15:clr>
            <a:srgbClr val="FBAE40"/>
          </p15:clr>
        </p15:guide>
        <p15:guide id="5" orient="horz" pos="2830" userDrawn="1">
          <p15:clr>
            <a:srgbClr val="FBAE40"/>
          </p15:clr>
        </p15:guide>
        <p15:guide id="6" orient="horz" pos="2998" userDrawn="1">
          <p15:clr>
            <a:srgbClr val="FBAE40"/>
          </p15:clr>
        </p15:guide>
        <p15:guide id="7" pos="2592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lit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5099859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5099859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5099859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5099859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19" name="Straight Connector 18"/>
          <p:cNvCxnSpPr/>
          <p:nvPr userDrawn="1"/>
        </p:nvCxnSpPr>
        <p:spPr bwMode="gray">
          <a:xfrm>
            <a:off x="5099859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 bwMode="gray">
          <a:xfrm>
            <a:off x="5099859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358644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3720" userDrawn="1">
          <p15:clr>
            <a:srgbClr val="FBAE40"/>
          </p15:clr>
        </p15:guide>
        <p15:guide id="3" pos="3953" userDrawn="1">
          <p15:clr>
            <a:srgbClr val="FBAE40"/>
          </p15:clr>
        </p15:guide>
        <p15:guide id="4" orient="horz" pos="2274" userDrawn="1">
          <p15:clr>
            <a:srgbClr val="FBAE40"/>
          </p15:clr>
        </p15:guide>
        <p15:guide id="5" orient="horz" pos="2442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6556510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1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556510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556510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3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556510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44" name="Straight Connector 43"/>
          <p:cNvCxnSpPr/>
          <p:nvPr userDrawn="1"/>
        </p:nvCxnSpPr>
        <p:spPr bwMode="gray">
          <a:xfrm>
            <a:off x="6556510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 bwMode="gray">
          <a:xfrm>
            <a:off x="6556510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3621769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7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3621769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8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3621769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9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3621769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0" name="Straight Connector 49"/>
          <p:cNvCxnSpPr/>
          <p:nvPr userDrawn="1"/>
        </p:nvCxnSpPr>
        <p:spPr bwMode="gray">
          <a:xfrm>
            <a:off x="3621769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 bwMode="gray">
          <a:xfrm>
            <a:off x="3621769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12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9092855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2592" userDrawn="1">
          <p15:clr>
            <a:srgbClr val="FBAE40"/>
          </p15:clr>
        </p15:guide>
        <p15:guide id="3" pos="5082" userDrawn="1">
          <p15:clr>
            <a:srgbClr val="FBAE40"/>
          </p15:clr>
        </p15:guide>
        <p15:guide id="4" pos="2803" userDrawn="1">
          <p15:clr>
            <a:srgbClr val="FBAE40"/>
          </p15:clr>
        </p15:guide>
        <p15:guide id="5" pos="4866" userDrawn="1">
          <p15:clr>
            <a:srgbClr val="FBAE40"/>
          </p15:clr>
        </p15:guide>
        <p15:guide id="6" orient="horz" pos="2274" userDrawn="1">
          <p15:clr>
            <a:srgbClr val="FBAE40"/>
          </p15:clr>
        </p15:guide>
        <p15:guide id="7" orient="horz" pos="2442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835598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2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2835598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3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2835598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4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2835598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5" name="Straight Connector 54"/>
          <p:cNvCxnSpPr/>
          <p:nvPr userDrawn="1"/>
        </p:nvCxnSpPr>
        <p:spPr bwMode="gray">
          <a:xfrm>
            <a:off x="2835598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 userDrawn="1"/>
        </p:nvCxnSpPr>
        <p:spPr bwMode="gray">
          <a:xfrm>
            <a:off x="2835598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4984166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8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4984166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9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4984166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0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4984166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1" name="Straight Connector 60"/>
          <p:cNvCxnSpPr/>
          <p:nvPr userDrawn="1"/>
        </p:nvCxnSpPr>
        <p:spPr bwMode="gray">
          <a:xfrm>
            <a:off x="4984166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 userDrawn="1"/>
        </p:nvCxnSpPr>
        <p:spPr bwMode="gray">
          <a:xfrm>
            <a:off x="4984166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Content Placeholder 2"/>
          <p:cNvSpPr>
            <a:spLocks noGrp="1"/>
          </p:cNvSpPr>
          <p:nvPr>
            <p:ph idx="30" hasCustomPrompt="1"/>
          </p:nvPr>
        </p:nvSpPr>
        <p:spPr bwMode="gray">
          <a:xfrm>
            <a:off x="7132734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4" name="Content Placeholder 2"/>
          <p:cNvSpPr>
            <a:spLocks noGrp="1"/>
          </p:cNvSpPr>
          <p:nvPr>
            <p:ph idx="31" hasCustomPrompt="1"/>
          </p:nvPr>
        </p:nvSpPr>
        <p:spPr bwMode="gray">
          <a:xfrm>
            <a:off x="7132734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65" name="Content Placeholder 2"/>
          <p:cNvSpPr>
            <a:spLocks noGrp="1"/>
          </p:cNvSpPr>
          <p:nvPr>
            <p:ph idx="32" hasCustomPrompt="1"/>
          </p:nvPr>
        </p:nvSpPr>
        <p:spPr bwMode="gray">
          <a:xfrm>
            <a:off x="7132734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6" name="Content Placeholder 2"/>
          <p:cNvSpPr>
            <a:spLocks noGrp="1"/>
          </p:cNvSpPr>
          <p:nvPr>
            <p:ph idx="33" hasCustomPrompt="1"/>
          </p:nvPr>
        </p:nvSpPr>
        <p:spPr bwMode="gray">
          <a:xfrm>
            <a:off x="7132734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7" name="Straight Connector 66"/>
          <p:cNvCxnSpPr/>
          <p:nvPr userDrawn="1"/>
        </p:nvCxnSpPr>
        <p:spPr bwMode="gray">
          <a:xfrm>
            <a:off x="7132734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 userDrawn="1"/>
        </p:nvCxnSpPr>
        <p:spPr bwMode="gray">
          <a:xfrm>
            <a:off x="7132734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4309895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2149" userDrawn="1">
          <p15:clr>
            <a:srgbClr val="FBAE40"/>
          </p15:clr>
        </p15:guide>
        <p15:guide id="4" pos="5480" userDrawn="1">
          <p15:clr>
            <a:srgbClr val="FBAE40"/>
          </p15:clr>
        </p15:guide>
        <p15:guide id="5" pos="3864" userDrawn="1">
          <p15:clr>
            <a:srgbClr val="FBAE40"/>
          </p15:clr>
        </p15:guide>
        <p15:guide id="6" pos="2196" userDrawn="1">
          <p15:clr>
            <a:srgbClr val="FBAE40"/>
          </p15:clr>
        </p15:guide>
        <p15:guide id="7" pos="3809" userDrawn="1">
          <p15:clr>
            <a:srgbClr val="FBAE40"/>
          </p15:clr>
        </p15:guide>
        <p15:guide id="8" pos="5528" userDrawn="1">
          <p15:clr>
            <a:srgbClr val="FBAE40"/>
          </p15:clr>
        </p15:guide>
        <p15:guide id="9" orient="horz" pos="2274" userDrawn="1">
          <p15:clr>
            <a:srgbClr val="FBAE40"/>
          </p15:clr>
        </p15:guide>
        <p15:guide id="10" orient="horz" pos="2442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3694867" y="1270000"/>
            <a:ext cx="5514620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6"/>
          </p:nvPr>
        </p:nvSpPr>
        <p:spPr bwMode="gray">
          <a:xfrm>
            <a:off x="563663" y="280732"/>
            <a:ext cx="2797671" cy="5920066"/>
          </a:xfrm>
          <a:custGeom>
            <a:avLst/>
            <a:gdLst>
              <a:gd name="connsiteX0" fmla="*/ 95997 w 3443287"/>
              <a:gd name="connsiteY0" fmla="*/ 0 h 5920066"/>
              <a:gd name="connsiteX1" fmla="*/ 3443287 w 3443287"/>
              <a:gd name="connsiteY1" fmla="*/ 0 h 5920066"/>
              <a:gd name="connsiteX2" fmla="*/ 3443287 w 3443287"/>
              <a:gd name="connsiteY2" fmla="*/ 5920066 h 5920066"/>
              <a:gd name="connsiteX3" fmla="*/ 95989 w 3443287"/>
              <a:gd name="connsiteY3" fmla="*/ 5920066 h 5920066"/>
              <a:gd name="connsiteX4" fmla="*/ 64311 w 3443287"/>
              <a:gd name="connsiteY4" fmla="*/ 5915938 h 5920066"/>
              <a:gd name="connsiteX5" fmla="*/ 0 w 3443287"/>
              <a:gd name="connsiteY5" fmla="*/ 5823957 h 5920066"/>
              <a:gd name="connsiteX6" fmla="*/ 0 w 3443287"/>
              <a:gd name="connsiteY6" fmla="*/ 5820222 h 5920066"/>
              <a:gd name="connsiteX7" fmla="*/ 0 w 3443287"/>
              <a:gd name="connsiteY7" fmla="*/ 5811351 h 5920066"/>
              <a:gd name="connsiteX8" fmla="*/ 0 w 3443287"/>
              <a:gd name="connsiteY8" fmla="*/ 5794075 h 5920066"/>
              <a:gd name="connsiteX9" fmla="*/ 0 w 3443287"/>
              <a:gd name="connsiteY9" fmla="*/ 5765594 h 5920066"/>
              <a:gd name="connsiteX10" fmla="*/ 0 w 3443287"/>
              <a:gd name="connsiteY10" fmla="*/ 5723106 h 5920066"/>
              <a:gd name="connsiteX11" fmla="*/ 0 w 3443287"/>
              <a:gd name="connsiteY11" fmla="*/ 5663809 h 5920066"/>
              <a:gd name="connsiteX12" fmla="*/ 0 w 3443287"/>
              <a:gd name="connsiteY12" fmla="*/ 5584902 h 5920066"/>
              <a:gd name="connsiteX13" fmla="*/ 0 w 3443287"/>
              <a:gd name="connsiteY13" fmla="*/ 5549717 h 5920066"/>
              <a:gd name="connsiteX14" fmla="*/ 0 w 3443287"/>
              <a:gd name="connsiteY14" fmla="*/ 5548611 h 5920066"/>
              <a:gd name="connsiteX15" fmla="*/ 0 w 3443287"/>
              <a:gd name="connsiteY15" fmla="*/ 5540863 h 5920066"/>
              <a:gd name="connsiteX16" fmla="*/ 0 w 3443287"/>
              <a:gd name="connsiteY16" fmla="*/ 5520020 h 5920066"/>
              <a:gd name="connsiteX17" fmla="*/ 0 w 3443287"/>
              <a:gd name="connsiteY17" fmla="*/ 5519835 h 5920066"/>
              <a:gd name="connsiteX18" fmla="*/ 0 w 3443287"/>
              <a:gd name="connsiteY18" fmla="*/ 5478886 h 5920066"/>
              <a:gd name="connsiteX19" fmla="*/ 0 w 3443287"/>
              <a:gd name="connsiteY19" fmla="*/ 5448866 h 5920066"/>
              <a:gd name="connsiteX20" fmla="*/ 0 w 3443287"/>
              <a:gd name="connsiteY20" fmla="*/ 5444347 h 5920066"/>
              <a:gd name="connsiteX21" fmla="*/ 0 w 3443287"/>
              <a:gd name="connsiteY21" fmla="*/ 5411375 h 5920066"/>
              <a:gd name="connsiteX22" fmla="*/ 0 w 3443287"/>
              <a:gd name="connsiteY22" fmla="*/ 5365584 h 5920066"/>
              <a:gd name="connsiteX23" fmla="*/ 0 w 3443287"/>
              <a:gd name="connsiteY23" fmla="*/ 5357053 h 5920066"/>
              <a:gd name="connsiteX24" fmla="*/ 0 w 3443287"/>
              <a:gd name="connsiteY24" fmla="*/ 5310662 h 5920066"/>
              <a:gd name="connsiteX25" fmla="*/ 0 w 3443287"/>
              <a:gd name="connsiteY25" fmla="*/ 5257308 h 5920066"/>
              <a:gd name="connsiteX26" fmla="*/ 0 w 3443287"/>
              <a:gd name="connsiteY26" fmla="*/ 5245780 h 5920066"/>
              <a:gd name="connsiteX27" fmla="*/ 0 w 3443287"/>
              <a:gd name="connsiteY27" fmla="*/ 5170107 h 5920066"/>
              <a:gd name="connsiteX28" fmla="*/ 0 w 3443287"/>
              <a:gd name="connsiteY28" fmla="*/ 5144283 h 5920066"/>
              <a:gd name="connsiteX29" fmla="*/ 0 w 3443287"/>
              <a:gd name="connsiteY29" fmla="*/ 5082813 h 5920066"/>
              <a:gd name="connsiteX30" fmla="*/ 0 w 3443287"/>
              <a:gd name="connsiteY30" fmla="*/ 5017146 h 5920066"/>
              <a:gd name="connsiteX31" fmla="*/ 0 w 3443287"/>
              <a:gd name="connsiteY31" fmla="*/ 4983068 h 5920066"/>
              <a:gd name="connsiteX32" fmla="*/ 0 w 3443287"/>
              <a:gd name="connsiteY32" fmla="*/ 4903543 h 5920066"/>
              <a:gd name="connsiteX33" fmla="*/ 0 w 3443287"/>
              <a:gd name="connsiteY33" fmla="*/ 4899808 h 5920066"/>
              <a:gd name="connsiteX34" fmla="*/ 0 w 3443287"/>
              <a:gd name="connsiteY34" fmla="*/ 4890937 h 5920066"/>
              <a:gd name="connsiteX35" fmla="*/ 0 w 3443287"/>
              <a:gd name="connsiteY35" fmla="*/ 4875069 h 5920066"/>
              <a:gd name="connsiteX36" fmla="*/ 0 w 3443287"/>
              <a:gd name="connsiteY36" fmla="*/ 4873661 h 5920066"/>
              <a:gd name="connsiteX37" fmla="*/ 0 w 3443287"/>
              <a:gd name="connsiteY37" fmla="*/ 4870043 h 5920066"/>
              <a:gd name="connsiteX38" fmla="*/ 0 w 3443287"/>
              <a:gd name="connsiteY38" fmla="*/ 4845180 h 5920066"/>
              <a:gd name="connsiteX39" fmla="*/ 0 w 3443287"/>
              <a:gd name="connsiteY39" fmla="*/ 4802692 h 5920066"/>
              <a:gd name="connsiteX40" fmla="*/ 0 w 3443287"/>
              <a:gd name="connsiteY40" fmla="*/ 4743395 h 5920066"/>
              <a:gd name="connsiteX41" fmla="*/ 0 w 3443287"/>
              <a:gd name="connsiteY41" fmla="*/ 4742906 h 5920066"/>
              <a:gd name="connsiteX42" fmla="*/ 0 w 3443287"/>
              <a:gd name="connsiteY42" fmla="*/ 4717221 h 5920066"/>
              <a:gd name="connsiteX43" fmla="*/ 0 w 3443287"/>
              <a:gd name="connsiteY43" fmla="*/ 4664488 h 5920066"/>
              <a:gd name="connsiteX44" fmla="*/ 0 w 3443287"/>
              <a:gd name="connsiteY44" fmla="*/ 4629303 h 5920066"/>
              <a:gd name="connsiteX45" fmla="*/ 0 w 3443287"/>
              <a:gd name="connsiteY45" fmla="*/ 4628197 h 5920066"/>
              <a:gd name="connsiteX46" fmla="*/ 0 w 3443287"/>
              <a:gd name="connsiteY46" fmla="*/ 4620449 h 5920066"/>
              <a:gd name="connsiteX47" fmla="*/ 0 w 3443287"/>
              <a:gd name="connsiteY47" fmla="*/ 4600829 h 5920066"/>
              <a:gd name="connsiteX48" fmla="*/ 0 w 3443287"/>
              <a:gd name="connsiteY48" fmla="*/ 4599606 h 5920066"/>
              <a:gd name="connsiteX49" fmla="*/ 0 w 3443287"/>
              <a:gd name="connsiteY49" fmla="*/ 4599421 h 5920066"/>
              <a:gd name="connsiteX50" fmla="*/ 0 w 3443287"/>
              <a:gd name="connsiteY50" fmla="*/ 4558472 h 5920066"/>
              <a:gd name="connsiteX51" fmla="*/ 0 w 3443287"/>
              <a:gd name="connsiteY51" fmla="*/ 4542771 h 5920066"/>
              <a:gd name="connsiteX52" fmla="*/ 0 w 3443287"/>
              <a:gd name="connsiteY52" fmla="*/ 4528452 h 5920066"/>
              <a:gd name="connsiteX53" fmla="*/ 0 w 3443287"/>
              <a:gd name="connsiteY53" fmla="*/ 4523933 h 5920066"/>
              <a:gd name="connsiteX54" fmla="*/ 0 w 3443287"/>
              <a:gd name="connsiteY54" fmla="*/ 4490961 h 5920066"/>
              <a:gd name="connsiteX55" fmla="*/ 0 w 3443287"/>
              <a:gd name="connsiteY55" fmla="*/ 4445170 h 5920066"/>
              <a:gd name="connsiteX56" fmla="*/ 0 w 3443287"/>
              <a:gd name="connsiteY56" fmla="*/ 4442981 h 5920066"/>
              <a:gd name="connsiteX57" fmla="*/ 0 w 3443287"/>
              <a:gd name="connsiteY57" fmla="*/ 4436639 h 5920066"/>
              <a:gd name="connsiteX58" fmla="*/ 0 w 3443287"/>
              <a:gd name="connsiteY58" fmla="*/ 4390248 h 5920066"/>
              <a:gd name="connsiteX59" fmla="*/ 0 w 3443287"/>
              <a:gd name="connsiteY59" fmla="*/ 4350891 h 5920066"/>
              <a:gd name="connsiteX60" fmla="*/ 0 w 3443287"/>
              <a:gd name="connsiteY60" fmla="*/ 4336894 h 5920066"/>
              <a:gd name="connsiteX61" fmla="*/ 0 w 3443287"/>
              <a:gd name="connsiteY61" fmla="*/ 4325366 h 5920066"/>
              <a:gd name="connsiteX62" fmla="*/ 0 w 3443287"/>
              <a:gd name="connsiteY62" fmla="*/ 4268531 h 5920066"/>
              <a:gd name="connsiteX63" fmla="*/ 0 w 3443287"/>
              <a:gd name="connsiteY63" fmla="*/ 4249693 h 5920066"/>
              <a:gd name="connsiteX64" fmla="*/ 0 w 3443287"/>
              <a:gd name="connsiteY64" fmla="*/ 4223869 h 5920066"/>
              <a:gd name="connsiteX65" fmla="*/ 0 w 3443287"/>
              <a:gd name="connsiteY65" fmla="*/ 4162399 h 5920066"/>
              <a:gd name="connsiteX66" fmla="*/ 0 w 3443287"/>
              <a:gd name="connsiteY66" fmla="*/ 4140749 h 5920066"/>
              <a:gd name="connsiteX67" fmla="*/ 0 w 3443287"/>
              <a:gd name="connsiteY67" fmla="*/ 4096732 h 5920066"/>
              <a:gd name="connsiteX68" fmla="*/ 0 w 3443287"/>
              <a:gd name="connsiteY68" fmla="*/ 4076651 h 5920066"/>
              <a:gd name="connsiteX69" fmla="*/ 0 w 3443287"/>
              <a:gd name="connsiteY69" fmla="*/ 4062654 h 5920066"/>
              <a:gd name="connsiteX70" fmla="*/ 0 w 3443287"/>
              <a:gd name="connsiteY70" fmla="*/ 3954655 h 5920066"/>
              <a:gd name="connsiteX71" fmla="*/ 0 w 3443287"/>
              <a:gd name="connsiteY71" fmla="*/ 3949629 h 5920066"/>
              <a:gd name="connsiteX72" fmla="*/ 0 w 3443287"/>
              <a:gd name="connsiteY72" fmla="*/ 3911516 h 5920066"/>
              <a:gd name="connsiteX73" fmla="*/ 0 w 3443287"/>
              <a:gd name="connsiteY73" fmla="*/ 3866509 h 5920066"/>
              <a:gd name="connsiteX74" fmla="*/ 0 w 3443287"/>
              <a:gd name="connsiteY74" fmla="*/ 3822492 h 5920066"/>
              <a:gd name="connsiteX75" fmla="*/ 0 w 3443287"/>
              <a:gd name="connsiteY75" fmla="*/ 3796807 h 5920066"/>
              <a:gd name="connsiteX76" fmla="*/ 0 w 3443287"/>
              <a:gd name="connsiteY76" fmla="*/ 3680415 h 5920066"/>
              <a:gd name="connsiteX77" fmla="*/ 0 w 3443287"/>
              <a:gd name="connsiteY77" fmla="*/ 3662362 h 5920066"/>
              <a:gd name="connsiteX78" fmla="*/ 0 w 3443287"/>
              <a:gd name="connsiteY78" fmla="*/ 3637276 h 5920066"/>
              <a:gd name="connsiteX79" fmla="*/ 0 w 3443287"/>
              <a:gd name="connsiteY79" fmla="*/ 3622357 h 5920066"/>
              <a:gd name="connsiteX80" fmla="*/ 0 w 3443287"/>
              <a:gd name="connsiteY80" fmla="*/ 3522567 h 5920066"/>
              <a:gd name="connsiteX81" fmla="*/ 0 w 3443287"/>
              <a:gd name="connsiteY81" fmla="*/ 3430477 h 5920066"/>
              <a:gd name="connsiteX82" fmla="*/ 0 w 3443287"/>
              <a:gd name="connsiteY82" fmla="*/ 3392457 h 5920066"/>
              <a:gd name="connsiteX83" fmla="*/ 0 w 3443287"/>
              <a:gd name="connsiteY83" fmla="*/ 3388122 h 5920066"/>
              <a:gd name="connsiteX84" fmla="*/ 0 w 3443287"/>
              <a:gd name="connsiteY84" fmla="*/ 3348117 h 5920066"/>
              <a:gd name="connsiteX85" fmla="*/ 0 w 3443287"/>
              <a:gd name="connsiteY85" fmla="*/ 3220335 h 5920066"/>
              <a:gd name="connsiteX86" fmla="*/ 0 w 3443287"/>
              <a:gd name="connsiteY86" fmla="*/ 3156237 h 5920066"/>
              <a:gd name="connsiteX87" fmla="*/ 0 w 3443287"/>
              <a:gd name="connsiteY87" fmla="*/ 3118217 h 5920066"/>
              <a:gd name="connsiteX88" fmla="*/ 0 w 3443287"/>
              <a:gd name="connsiteY88" fmla="*/ 3100970 h 5920066"/>
              <a:gd name="connsiteX89" fmla="*/ 0 w 3443287"/>
              <a:gd name="connsiteY89" fmla="*/ 2991102 h 5920066"/>
              <a:gd name="connsiteX90" fmla="*/ 0 w 3443287"/>
              <a:gd name="connsiteY90" fmla="*/ 2946095 h 5920066"/>
              <a:gd name="connsiteX91" fmla="*/ 0 w 3443287"/>
              <a:gd name="connsiteY91" fmla="*/ 2826730 h 5920066"/>
              <a:gd name="connsiteX92" fmla="*/ 0 w 3443287"/>
              <a:gd name="connsiteY92" fmla="*/ 2787072 h 5920066"/>
              <a:gd name="connsiteX93" fmla="*/ 0 w 3443287"/>
              <a:gd name="connsiteY93" fmla="*/ 2741948 h 5920066"/>
              <a:gd name="connsiteX94" fmla="*/ 0 w 3443287"/>
              <a:gd name="connsiteY94" fmla="*/ 2716862 h 5920066"/>
              <a:gd name="connsiteX95" fmla="*/ 0 w 3443287"/>
              <a:gd name="connsiteY95" fmla="*/ 2512832 h 5920066"/>
              <a:gd name="connsiteX96" fmla="*/ 0 w 3443287"/>
              <a:gd name="connsiteY96" fmla="*/ 2472043 h 5920066"/>
              <a:gd name="connsiteX97" fmla="*/ 0 w 3443287"/>
              <a:gd name="connsiteY97" fmla="*/ 2467708 h 5920066"/>
              <a:gd name="connsiteX98" fmla="*/ 0 w 3443287"/>
              <a:gd name="connsiteY98" fmla="*/ 2449933 h 5920066"/>
              <a:gd name="connsiteX99" fmla="*/ 0 w 3443287"/>
              <a:gd name="connsiteY99" fmla="*/ 2197803 h 5920066"/>
              <a:gd name="connsiteX100" fmla="*/ 0 w 3443287"/>
              <a:gd name="connsiteY100" fmla="*/ 2180556 h 5920066"/>
              <a:gd name="connsiteX101" fmla="*/ 0 w 3443287"/>
              <a:gd name="connsiteY101" fmla="*/ 2175692 h 5920066"/>
              <a:gd name="connsiteX102" fmla="*/ 0 w 3443287"/>
              <a:gd name="connsiteY102" fmla="*/ 2088721 h 5920066"/>
              <a:gd name="connsiteX103" fmla="*/ 0 w 3443287"/>
              <a:gd name="connsiteY103" fmla="*/ 1906316 h 5920066"/>
              <a:gd name="connsiteX104" fmla="*/ 0 w 3443287"/>
              <a:gd name="connsiteY104" fmla="*/ 1866658 h 5920066"/>
              <a:gd name="connsiteX105" fmla="*/ 0 w 3443287"/>
              <a:gd name="connsiteY105" fmla="*/ 1814481 h 5920066"/>
              <a:gd name="connsiteX106" fmla="*/ 0 w 3443287"/>
              <a:gd name="connsiteY106" fmla="*/ 1702609 h 5920066"/>
              <a:gd name="connsiteX107" fmla="*/ 0 w 3443287"/>
              <a:gd name="connsiteY107" fmla="*/ 1592418 h 5920066"/>
              <a:gd name="connsiteX108" fmla="*/ 0 w 3443287"/>
              <a:gd name="connsiteY108" fmla="*/ 1529519 h 5920066"/>
              <a:gd name="connsiteX109" fmla="*/ 0 w 3443287"/>
              <a:gd name="connsiteY109" fmla="*/ 1428369 h 5920066"/>
              <a:gd name="connsiteX110" fmla="*/ 0 w 3443287"/>
              <a:gd name="connsiteY110" fmla="*/ 1290764 h 5920066"/>
              <a:gd name="connsiteX111" fmla="*/ 0 w 3443287"/>
              <a:gd name="connsiteY111" fmla="*/ 1255278 h 5920066"/>
              <a:gd name="connsiteX112" fmla="*/ 0 w 3443287"/>
              <a:gd name="connsiteY112" fmla="*/ 1168307 h 5920066"/>
              <a:gd name="connsiteX113" fmla="*/ 0 w 3443287"/>
              <a:gd name="connsiteY113" fmla="*/ 1016524 h 5920066"/>
              <a:gd name="connsiteX114" fmla="*/ 0 w 3443287"/>
              <a:gd name="connsiteY114" fmla="*/ 894067 h 5920066"/>
              <a:gd name="connsiteX115" fmla="*/ 0 w 3443287"/>
              <a:gd name="connsiteY115" fmla="*/ 782195 h 5920066"/>
              <a:gd name="connsiteX116" fmla="*/ 0 w 3443287"/>
              <a:gd name="connsiteY116" fmla="*/ 507955 h 5920066"/>
              <a:gd name="connsiteX117" fmla="*/ 0 w 3443287"/>
              <a:gd name="connsiteY117" fmla="*/ 370350 h 5920066"/>
              <a:gd name="connsiteX118" fmla="*/ 0 w 3443287"/>
              <a:gd name="connsiteY118" fmla="*/ 96110 h 5920066"/>
              <a:gd name="connsiteX119" fmla="*/ 95997 w 3443287"/>
              <a:gd name="connsiteY119" fmla="*/ 0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3443287" h="5920066">
                <a:moveTo>
                  <a:pt x="95997" y="0"/>
                </a:moveTo>
                <a:lnTo>
                  <a:pt x="3443287" y="0"/>
                </a:lnTo>
                <a:lnTo>
                  <a:pt x="3443287" y="5920066"/>
                </a:lnTo>
                <a:lnTo>
                  <a:pt x="95989" y="5920066"/>
                </a:lnTo>
                <a:lnTo>
                  <a:pt x="64311" y="5915938"/>
                </a:lnTo>
                <a:cubicBezTo>
                  <a:pt x="0" y="5897541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94866" y="280736"/>
            <a:ext cx="5514619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666221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854" userDrawn="1">
          <p15:clr>
            <a:srgbClr val="FBAE40"/>
          </p15:clr>
        </p15:guide>
        <p15:guide id="2" pos="2610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1038" y="1270000"/>
            <a:ext cx="5513625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/>
          </p:nvPr>
        </p:nvSpPr>
        <p:spPr bwMode="gray">
          <a:xfrm>
            <a:off x="6869063" y="280732"/>
            <a:ext cx="2796853" cy="5920066"/>
          </a:xfrm>
          <a:custGeom>
            <a:avLst/>
            <a:gdLst>
              <a:gd name="connsiteX0" fmla="*/ 0 w 3442280"/>
              <a:gd name="connsiteY0" fmla="*/ 0 h 5920066"/>
              <a:gd name="connsiteX1" fmla="*/ 3346283 w 3442280"/>
              <a:gd name="connsiteY1" fmla="*/ 0 h 5920066"/>
              <a:gd name="connsiteX2" fmla="*/ 3442280 w 3442280"/>
              <a:gd name="connsiteY2" fmla="*/ 96110 h 5920066"/>
              <a:gd name="connsiteX3" fmla="*/ 3442280 w 3442280"/>
              <a:gd name="connsiteY3" fmla="*/ 335165 h 5920066"/>
              <a:gd name="connsiteX4" fmla="*/ 3442280 w 3442280"/>
              <a:gd name="connsiteY4" fmla="*/ 370350 h 5920066"/>
              <a:gd name="connsiteX5" fmla="*/ 3442280 w 3442280"/>
              <a:gd name="connsiteY5" fmla="*/ 379204 h 5920066"/>
              <a:gd name="connsiteX6" fmla="*/ 3442280 w 3442280"/>
              <a:gd name="connsiteY6" fmla="*/ 400048 h 5920066"/>
              <a:gd name="connsiteX7" fmla="*/ 3442280 w 3442280"/>
              <a:gd name="connsiteY7" fmla="*/ 400232 h 5920066"/>
              <a:gd name="connsiteX8" fmla="*/ 3442280 w 3442280"/>
              <a:gd name="connsiteY8" fmla="*/ 471202 h 5920066"/>
              <a:gd name="connsiteX9" fmla="*/ 3442280 w 3442280"/>
              <a:gd name="connsiteY9" fmla="*/ 475721 h 5920066"/>
              <a:gd name="connsiteX10" fmla="*/ 3442280 w 3442280"/>
              <a:gd name="connsiteY10" fmla="*/ 508692 h 5920066"/>
              <a:gd name="connsiteX11" fmla="*/ 3442280 w 3442280"/>
              <a:gd name="connsiteY11" fmla="*/ 554484 h 5920066"/>
              <a:gd name="connsiteX12" fmla="*/ 3442280 w 3442280"/>
              <a:gd name="connsiteY12" fmla="*/ 563015 h 5920066"/>
              <a:gd name="connsiteX13" fmla="*/ 3442280 w 3442280"/>
              <a:gd name="connsiteY13" fmla="*/ 609405 h 5920066"/>
              <a:gd name="connsiteX14" fmla="*/ 3442280 w 3442280"/>
              <a:gd name="connsiteY14" fmla="*/ 662759 h 5920066"/>
              <a:gd name="connsiteX15" fmla="*/ 3442280 w 3442280"/>
              <a:gd name="connsiteY15" fmla="*/ 674288 h 5920066"/>
              <a:gd name="connsiteX16" fmla="*/ 3442280 w 3442280"/>
              <a:gd name="connsiteY16" fmla="*/ 749961 h 5920066"/>
              <a:gd name="connsiteX17" fmla="*/ 3442280 w 3442280"/>
              <a:gd name="connsiteY17" fmla="*/ 775785 h 5920066"/>
              <a:gd name="connsiteX18" fmla="*/ 3442280 w 3442280"/>
              <a:gd name="connsiteY18" fmla="*/ 837255 h 5920066"/>
              <a:gd name="connsiteX19" fmla="*/ 3442280 w 3442280"/>
              <a:gd name="connsiteY19" fmla="*/ 902921 h 5920066"/>
              <a:gd name="connsiteX20" fmla="*/ 3442280 w 3442280"/>
              <a:gd name="connsiteY20" fmla="*/ 936999 h 5920066"/>
              <a:gd name="connsiteX21" fmla="*/ 3442280 w 3442280"/>
              <a:gd name="connsiteY21" fmla="*/ 1016524 h 5920066"/>
              <a:gd name="connsiteX22" fmla="*/ 3442280 w 3442280"/>
              <a:gd name="connsiteY22" fmla="*/ 1029131 h 5920066"/>
              <a:gd name="connsiteX23" fmla="*/ 3442280 w 3442280"/>
              <a:gd name="connsiteY23" fmla="*/ 1044999 h 5920066"/>
              <a:gd name="connsiteX24" fmla="*/ 3442280 w 3442280"/>
              <a:gd name="connsiteY24" fmla="*/ 1046406 h 5920066"/>
              <a:gd name="connsiteX25" fmla="*/ 3442280 w 3442280"/>
              <a:gd name="connsiteY25" fmla="*/ 1050025 h 5920066"/>
              <a:gd name="connsiteX26" fmla="*/ 3442280 w 3442280"/>
              <a:gd name="connsiteY26" fmla="*/ 1074887 h 5920066"/>
              <a:gd name="connsiteX27" fmla="*/ 3442280 w 3442280"/>
              <a:gd name="connsiteY27" fmla="*/ 1176672 h 5920066"/>
              <a:gd name="connsiteX28" fmla="*/ 3442280 w 3442280"/>
              <a:gd name="connsiteY28" fmla="*/ 1177161 h 5920066"/>
              <a:gd name="connsiteX29" fmla="*/ 3442280 w 3442280"/>
              <a:gd name="connsiteY29" fmla="*/ 1202847 h 5920066"/>
              <a:gd name="connsiteX30" fmla="*/ 3442280 w 3442280"/>
              <a:gd name="connsiteY30" fmla="*/ 1255579 h 5920066"/>
              <a:gd name="connsiteX31" fmla="*/ 3442280 w 3442280"/>
              <a:gd name="connsiteY31" fmla="*/ 1290764 h 5920066"/>
              <a:gd name="connsiteX32" fmla="*/ 3442280 w 3442280"/>
              <a:gd name="connsiteY32" fmla="*/ 1299618 h 5920066"/>
              <a:gd name="connsiteX33" fmla="*/ 3442280 w 3442280"/>
              <a:gd name="connsiteY33" fmla="*/ 1319239 h 5920066"/>
              <a:gd name="connsiteX34" fmla="*/ 3442280 w 3442280"/>
              <a:gd name="connsiteY34" fmla="*/ 1320462 h 5920066"/>
              <a:gd name="connsiteX35" fmla="*/ 3442280 w 3442280"/>
              <a:gd name="connsiteY35" fmla="*/ 1320646 h 5920066"/>
              <a:gd name="connsiteX36" fmla="*/ 3442280 w 3442280"/>
              <a:gd name="connsiteY36" fmla="*/ 1349128 h 5920066"/>
              <a:gd name="connsiteX37" fmla="*/ 3442280 w 3442280"/>
              <a:gd name="connsiteY37" fmla="*/ 1377296 h 5920066"/>
              <a:gd name="connsiteX38" fmla="*/ 3442280 w 3442280"/>
              <a:gd name="connsiteY38" fmla="*/ 1391616 h 5920066"/>
              <a:gd name="connsiteX39" fmla="*/ 3442280 w 3442280"/>
              <a:gd name="connsiteY39" fmla="*/ 1396135 h 5920066"/>
              <a:gd name="connsiteX40" fmla="*/ 3442280 w 3442280"/>
              <a:gd name="connsiteY40" fmla="*/ 1429106 h 5920066"/>
              <a:gd name="connsiteX41" fmla="*/ 3442280 w 3442280"/>
              <a:gd name="connsiteY41" fmla="*/ 1474898 h 5920066"/>
              <a:gd name="connsiteX42" fmla="*/ 3442280 w 3442280"/>
              <a:gd name="connsiteY42" fmla="*/ 1477087 h 5920066"/>
              <a:gd name="connsiteX43" fmla="*/ 3442280 w 3442280"/>
              <a:gd name="connsiteY43" fmla="*/ 1483429 h 5920066"/>
              <a:gd name="connsiteX44" fmla="*/ 3442280 w 3442280"/>
              <a:gd name="connsiteY44" fmla="*/ 1529819 h 5920066"/>
              <a:gd name="connsiteX45" fmla="*/ 3442280 w 3442280"/>
              <a:gd name="connsiteY45" fmla="*/ 1569177 h 5920066"/>
              <a:gd name="connsiteX46" fmla="*/ 3442280 w 3442280"/>
              <a:gd name="connsiteY46" fmla="*/ 1583173 h 5920066"/>
              <a:gd name="connsiteX47" fmla="*/ 3442280 w 3442280"/>
              <a:gd name="connsiteY47" fmla="*/ 1594702 h 5920066"/>
              <a:gd name="connsiteX48" fmla="*/ 3442280 w 3442280"/>
              <a:gd name="connsiteY48" fmla="*/ 1651536 h 5920066"/>
              <a:gd name="connsiteX49" fmla="*/ 3442280 w 3442280"/>
              <a:gd name="connsiteY49" fmla="*/ 1670375 h 5920066"/>
              <a:gd name="connsiteX50" fmla="*/ 3442280 w 3442280"/>
              <a:gd name="connsiteY50" fmla="*/ 1696199 h 5920066"/>
              <a:gd name="connsiteX51" fmla="*/ 3442280 w 3442280"/>
              <a:gd name="connsiteY51" fmla="*/ 1757669 h 5920066"/>
              <a:gd name="connsiteX52" fmla="*/ 3442280 w 3442280"/>
              <a:gd name="connsiteY52" fmla="*/ 1779318 h 5920066"/>
              <a:gd name="connsiteX53" fmla="*/ 3442280 w 3442280"/>
              <a:gd name="connsiteY53" fmla="*/ 1823335 h 5920066"/>
              <a:gd name="connsiteX54" fmla="*/ 3442280 w 3442280"/>
              <a:gd name="connsiteY54" fmla="*/ 1843417 h 5920066"/>
              <a:gd name="connsiteX55" fmla="*/ 3442280 w 3442280"/>
              <a:gd name="connsiteY55" fmla="*/ 1857413 h 5920066"/>
              <a:gd name="connsiteX56" fmla="*/ 3442280 w 3442280"/>
              <a:gd name="connsiteY56" fmla="*/ 1965413 h 5920066"/>
              <a:gd name="connsiteX57" fmla="*/ 3442280 w 3442280"/>
              <a:gd name="connsiteY57" fmla="*/ 1970439 h 5920066"/>
              <a:gd name="connsiteX58" fmla="*/ 3442280 w 3442280"/>
              <a:gd name="connsiteY58" fmla="*/ 2008551 h 5920066"/>
              <a:gd name="connsiteX59" fmla="*/ 3442280 w 3442280"/>
              <a:gd name="connsiteY59" fmla="*/ 2053558 h 5920066"/>
              <a:gd name="connsiteX60" fmla="*/ 3442280 w 3442280"/>
              <a:gd name="connsiteY60" fmla="*/ 2097575 h 5920066"/>
              <a:gd name="connsiteX61" fmla="*/ 3442280 w 3442280"/>
              <a:gd name="connsiteY61" fmla="*/ 2123261 h 5920066"/>
              <a:gd name="connsiteX62" fmla="*/ 3442280 w 3442280"/>
              <a:gd name="connsiteY62" fmla="*/ 2239653 h 5920066"/>
              <a:gd name="connsiteX63" fmla="*/ 3442280 w 3442280"/>
              <a:gd name="connsiteY63" fmla="*/ 2257705 h 5920066"/>
              <a:gd name="connsiteX64" fmla="*/ 3442280 w 3442280"/>
              <a:gd name="connsiteY64" fmla="*/ 2282791 h 5920066"/>
              <a:gd name="connsiteX65" fmla="*/ 3442280 w 3442280"/>
              <a:gd name="connsiteY65" fmla="*/ 2297710 h 5920066"/>
              <a:gd name="connsiteX66" fmla="*/ 3442280 w 3442280"/>
              <a:gd name="connsiteY66" fmla="*/ 2397501 h 5920066"/>
              <a:gd name="connsiteX67" fmla="*/ 3442280 w 3442280"/>
              <a:gd name="connsiteY67" fmla="*/ 2489591 h 5920066"/>
              <a:gd name="connsiteX68" fmla="*/ 3442280 w 3442280"/>
              <a:gd name="connsiteY68" fmla="*/ 2527610 h 5920066"/>
              <a:gd name="connsiteX69" fmla="*/ 3442280 w 3442280"/>
              <a:gd name="connsiteY69" fmla="*/ 2531945 h 5920066"/>
              <a:gd name="connsiteX70" fmla="*/ 3442280 w 3442280"/>
              <a:gd name="connsiteY70" fmla="*/ 2571950 h 5920066"/>
              <a:gd name="connsiteX71" fmla="*/ 3442280 w 3442280"/>
              <a:gd name="connsiteY71" fmla="*/ 2699732 h 5920066"/>
              <a:gd name="connsiteX72" fmla="*/ 3442280 w 3442280"/>
              <a:gd name="connsiteY72" fmla="*/ 2763831 h 5920066"/>
              <a:gd name="connsiteX73" fmla="*/ 3442280 w 3442280"/>
              <a:gd name="connsiteY73" fmla="*/ 2801851 h 5920066"/>
              <a:gd name="connsiteX74" fmla="*/ 3442280 w 3442280"/>
              <a:gd name="connsiteY74" fmla="*/ 2819097 h 5920066"/>
              <a:gd name="connsiteX75" fmla="*/ 3442280 w 3442280"/>
              <a:gd name="connsiteY75" fmla="*/ 2928965 h 5920066"/>
              <a:gd name="connsiteX76" fmla="*/ 3442280 w 3442280"/>
              <a:gd name="connsiteY76" fmla="*/ 2973972 h 5920066"/>
              <a:gd name="connsiteX77" fmla="*/ 3442280 w 3442280"/>
              <a:gd name="connsiteY77" fmla="*/ 3093337 h 5920066"/>
              <a:gd name="connsiteX78" fmla="*/ 3442280 w 3442280"/>
              <a:gd name="connsiteY78" fmla="*/ 3132995 h 5920066"/>
              <a:gd name="connsiteX79" fmla="*/ 3442280 w 3442280"/>
              <a:gd name="connsiteY79" fmla="*/ 3178119 h 5920066"/>
              <a:gd name="connsiteX80" fmla="*/ 3442280 w 3442280"/>
              <a:gd name="connsiteY80" fmla="*/ 3203205 h 5920066"/>
              <a:gd name="connsiteX81" fmla="*/ 3442280 w 3442280"/>
              <a:gd name="connsiteY81" fmla="*/ 3407236 h 5920066"/>
              <a:gd name="connsiteX82" fmla="*/ 3442280 w 3442280"/>
              <a:gd name="connsiteY82" fmla="*/ 3448024 h 5920066"/>
              <a:gd name="connsiteX83" fmla="*/ 3442280 w 3442280"/>
              <a:gd name="connsiteY83" fmla="*/ 3452359 h 5920066"/>
              <a:gd name="connsiteX84" fmla="*/ 3442280 w 3442280"/>
              <a:gd name="connsiteY84" fmla="*/ 3470135 h 5920066"/>
              <a:gd name="connsiteX85" fmla="*/ 3442280 w 3442280"/>
              <a:gd name="connsiteY85" fmla="*/ 3722265 h 5920066"/>
              <a:gd name="connsiteX86" fmla="*/ 3442280 w 3442280"/>
              <a:gd name="connsiteY86" fmla="*/ 3739511 h 5920066"/>
              <a:gd name="connsiteX87" fmla="*/ 3442280 w 3442280"/>
              <a:gd name="connsiteY87" fmla="*/ 3744375 h 5920066"/>
              <a:gd name="connsiteX88" fmla="*/ 3442280 w 3442280"/>
              <a:gd name="connsiteY88" fmla="*/ 3831346 h 5920066"/>
              <a:gd name="connsiteX89" fmla="*/ 3442280 w 3442280"/>
              <a:gd name="connsiteY89" fmla="*/ 4013751 h 5920066"/>
              <a:gd name="connsiteX90" fmla="*/ 3442280 w 3442280"/>
              <a:gd name="connsiteY90" fmla="*/ 4053409 h 5920066"/>
              <a:gd name="connsiteX91" fmla="*/ 3442280 w 3442280"/>
              <a:gd name="connsiteY91" fmla="*/ 4105586 h 5920066"/>
              <a:gd name="connsiteX92" fmla="*/ 3442280 w 3442280"/>
              <a:gd name="connsiteY92" fmla="*/ 4217459 h 5920066"/>
              <a:gd name="connsiteX93" fmla="*/ 3442280 w 3442280"/>
              <a:gd name="connsiteY93" fmla="*/ 4327650 h 5920066"/>
              <a:gd name="connsiteX94" fmla="*/ 3442280 w 3442280"/>
              <a:gd name="connsiteY94" fmla="*/ 4390549 h 5920066"/>
              <a:gd name="connsiteX95" fmla="*/ 3442280 w 3442280"/>
              <a:gd name="connsiteY95" fmla="*/ 4491699 h 5920066"/>
              <a:gd name="connsiteX96" fmla="*/ 3442280 w 3442280"/>
              <a:gd name="connsiteY96" fmla="*/ 4629303 h 5920066"/>
              <a:gd name="connsiteX97" fmla="*/ 3442280 w 3442280"/>
              <a:gd name="connsiteY97" fmla="*/ 4664789 h 5920066"/>
              <a:gd name="connsiteX98" fmla="*/ 3442280 w 3442280"/>
              <a:gd name="connsiteY98" fmla="*/ 4751760 h 5920066"/>
              <a:gd name="connsiteX99" fmla="*/ 3442280 w 3442280"/>
              <a:gd name="connsiteY99" fmla="*/ 4903543 h 5920066"/>
              <a:gd name="connsiteX100" fmla="*/ 3442280 w 3442280"/>
              <a:gd name="connsiteY100" fmla="*/ 5026000 h 5920066"/>
              <a:gd name="connsiteX101" fmla="*/ 3442280 w 3442280"/>
              <a:gd name="connsiteY101" fmla="*/ 5137873 h 5920066"/>
              <a:gd name="connsiteX102" fmla="*/ 3442280 w 3442280"/>
              <a:gd name="connsiteY102" fmla="*/ 5412113 h 5920066"/>
              <a:gd name="connsiteX103" fmla="*/ 3442280 w 3442280"/>
              <a:gd name="connsiteY103" fmla="*/ 5549717 h 5920066"/>
              <a:gd name="connsiteX104" fmla="*/ 3442280 w 3442280"/>
              <a:gd name="connsiteY104" fmla="*/ 5823957 h 5920066"/>
              <a:gd name="connsiteX105" fmla="*/ 3361283 w 3442280"/>
              <a:gd name="connsiteY105" fmla="*/ 5918566 h 5920066"/>
              <a:gd name="connsiteX106" fmla="*/ 3346294 w 3442280"/>
              <a:gd name="connsiteY106" fmla="*/ 5920066 h 5920066"/>
              <a:gd name="connsiteX107" fmla="*/ 0 w 3442280"/>
              <a:gd name="connsiteY107" fmla="*/ 5920066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3442280" h="5920066">
                <a:moveTo>
                  <a:pt x="0" y="0"/>
                </a:moveTo>
                <a:lnTo>
                  <a:pt x="3346283" y="0"/>
                </a:lnTo>
                <a:cubicBezTo>
                  <a:pt x="3442280" y="0"/>
                  <a:pt x="3442280" y="96110"/>
                  <a:pt x="3442280" y="96110"/>
                </a:cubicBezTo>
                <a:cubicBezTo>
                  <a:pt x="3442280" y="96110"/>
                  <a:pt x="3442280" y="96110"/>
                  <a:pt x="3442280" y="335165"/>
                </a:cubicBezTo>
                <a:lnTo>
                  <a:pt x="3442280" y="370350"/>
                </a:lnTo>
                <a:cubicBezTo>
                  <a:pt x="3442280" y="370350"/>
                  <a:pt x="3442280" y="370350"/>
                  <a:pt x="3442280" y="379204"/>
                </a:cubicBezTo>
                <a:lnTo>
                  <a:pt x="3442280" y="400048"/>
                </a:lnTo>
                <a:lnTo>
                  <a:pt x="3442280" y="400232"/>
                </a:lnTo>
                <a:cubicBezTo>
                  <a:pt x="3442280" y="415173"/>
                  <a:pt x="3442280" y="437585"/>
                  <a:pt x="3442280" y="471202"/>
                </a:cubicBezTo>
                <a:lnTo>
                  <a:pt x="3442280" y="475721"/>
                </a:lnTo>
                <a:lnTo>
                  <a:pt x="3442280" y="508692"/>
                </a:lnTo>
                <a:cubicBezTo>
                  <a:pt x="3442280" y="522527"/>
                  <a:pt x="3442280" y="537744"/>
                  <a:pt x="3442280" y="554484"/>
                </a:cubicBezTo>
                <a:lnTo>
                  <a:pt x="3442280" y="563015"/>
                </a:lnTo>
                <a:lnTo>
                  <a:pt x="3442280" y="609405"/>
                </a:lnTo>
                <a:lnTo>
                  <a:pt x="3442280" y="662759"/>
                </a:lnTo>
                <a:lnTo>
                  <a:pt x="3442280" y="674288"/>
                </a:lnTo>
                <a:cubicBezTo>
                  <a:pt x="3442280" y="697668"/>
                  <a:pt x="3442280" y="722846"/>
                  <a:pt x="3442280" y="749961"/>
                </a:cubicBezTo>
                <a:lnTo>
                  <a:pt x="3442280" y="775785"/>
                </a:lnTo>
                <a:lnTo>
                  <a:pt x="3442280" y="837255"/>
                </a:lnTo>
                <a:lnTo>
                  <a:pt x="3442280" y="902921"/>
                </a:lnTo>
                <a:lnTo>
                  <a:pt x="3442280" y="936999"/>
                </a:lnTo>
                <a:lnTo>
                  <a:pt x="3442280" y="1016524"/>
                </a:lnTo>
                <a:cubicBezTo>
                  <a:pt x="3442280" y="1016524"/>
                  <a:pt x="3442280" y="1016524"/>
                  <a:pt x="3442280" y="1029131"/>
                </a:cubicBezTo>
                <a:lnTo>
                  <a:pt x="3442280" y="1044999"/>
                </a:lnTo>
                <a:lnTo>
                  <a:pt x="3442280" y="1046406"/>
                </a:lnTo>
                <a:lnTo>
                  <a:pt x="3442280" y="1050025"/>
                </a:lnTo>
                <a:lnTo>
                  <a:pt x="3442280" y="1074887"/>
                </a:lnTo>
                <a:cubicBezTo>
                  <a:pt x="3442280" y="1098232"/>
                  <a:pt x="3442280" y="1130916"/>
                  <a:pt x="3442280" y="1176672"/>
                </a:cubicBezTo>
                <a:lnTo>
                  <a:pt x="3442280" y="1177161"/>
                </a:lnTo>
                <a:lnTo>
                  <a:pt x="3442280" y="1202847"/>
                </a:lnTo>
                <a:lnTo>
                  <a:pt x="3442280" y="1255579"/>
                </a:lnTo>
                <a:lnTo>
                  <a:pt x="3442280" y="1290764"/>
                </a:lnTo>
                <a:cubicBezTo>
                  <a:pt x="3442280" y="1290764"/>
                  <a:pt x="3442280" y="1290764"/>
                  <a:pt x="3442280" y="1299618"/>
                </a:cubicBezTo>
                <a:lnTo>
                  <a:pt x="3442280" y="1319239"/>
                </a:lnTo>
                <a:lnTo>
                  <a:pt x="3442280" y="1320462"/>
                </a:lnTo>
                <a:lnTo>
                  <a:pt x="3442280" y="1320646"/>
                </a:lnTo>
                <a:cubicBezTo>
                  <a:pt x="3442280" y="1328117"/>
                  <a:pt x="3442280" y="1337455"/>
                  <a:pt x="3442280" y="1349128"/>
                </a:cubicBezTo>
                <a:lnTo>
                  <a:pt x="3442280" y="1377296"/>
                </a:lnTo>
                <a:lnTo>
                  <a:pt x="3442280" y="1391616"/>
                </a:lnTo>
                <a:lnTo>
                  <a:pt x="3442280" y="1396135"/>
                </a:lnTo>
                <a:lnTo>
                  <a:pt x="3442280" y="1429106"/>
                </a:lnTo>
                <a:cubicBezTo>
                  <a:pt x="3442280" y="1442941"/>
                  <a:pt x="3442280" y="1458158"/>
                  <a:pt x="3442280" y="1474898"/>
                </a:cubicBezTo>
                <a:lnTo>
                  <a:pt x="3442280" y="1477087"/>
                </a:lnTo>
                <a:lnTo>
                  <a:pt x="3442280" y="1483429"/>
                </a:lnTo>
                <a:lnTo>
                  <a:pt x="3442280" y="1529819"/>
                </a:lnTo>
                <a:lnTo>
                  <a:pt x="3442280" y="1569177"/>
                </a:lnTo>
                <a:lnTo>
                  <a:pt x="3442280" y="1583173"/>
                </a:lnTo>
                <a:lnTo>
                  <a:pt x="3442280" y="1594702"/>
                </a:lnTo>
                <a:lnTo>
                  <a:pt x="3442280" y="1651536"/>
                </a:lnTo>
                <a:lnTo>
                  <a:pt x="3442280" y="1670375"/>
                </a:lnTo>
                <a:lnTo>
                  <a:pt x="3442280" y="1696199"/>
                </a:lnTo>
                <a:lnTo>
                  <a:pt x="3442280" y="1757669"/>
                </a:lnTo>
                <a:lnTo>
                  <a:pt x="3442280" y="1779318"/>
                </a:lnTo>
                <a:lnTo>
                  <a:pt x="3442280" y="1823335"/>
                </a:lnTo>
                <a:lnTo>
                  <a:pt x="3442280" y="1843417"/>
                </a:lnTo>
                <a:lnTo>
                  <a:pt x="3442280" y="1857413"/>
                </a:lnTo>
                <a:lnTo>
                  <a:pt x="3442280" y="1965413"/>
                </a:lnTo>
                <a:lnTo>
                  <a:pt x="3442280" y="1970439"/>
                </a:lnTo>
                <a:lnTo>
                  <a:pt x="3442280" y="2008551"/>
                </a:lnTo>
                <a:lnTo>
                  <a:pt x="3442280" y="2053558"/>
                </a:lnTo>
                <a:lnTo>
                  <a:pt x="3442280" y="2097575"/>
                </a:lnTo>
                <a:lnTo>
                  <a:pt x="3442280" y="2123261"/>
                </a:lnTo>
                <a:lnTo>
                  <a:pt x="3442280" y="2239653"/>
                </a:lnTo>
                <a:lnTo>
                  <a:pt x="3442280" y="2257705"/>
                </a:lnTo>
                <a:lnTo>
                  <a:pt x="3442280" y="2282791"/>
                </a:lnTo>
                <a:lnTo>
                  <a:pt x="3442280" y="2297710"/>
                </a:lnTo>
                <a:lnTo>
                  <a:pt x="3442280" y="2397501"/>
                </a:lnTo>
                <a:lnTo>
                  <a:pt x="3442280" y="2489591"/>
                </a:lnTo>
                <a:lnTo>
                  <a:pt x="3442280" y="2527610"/>
                </a:lnTo>
                <a:lnTo>
                  <a:pt x="3442280" y="2531945"/>
                </a:lnTo>
                <a:lnTo>
                  <a:pt x="3442280" y="2571950"/>
                </a:lnTo>
                <a:lnTo>
                  <a:pt x="3442280" y="2699732"/>
                </a:lnTo>
                <a:lnTo>
                  <a:pt x="3442280" y="2763831"/>
                </a:lnTo>
                <a:lnTo>
                  <a:pt x="3442280" y="2801851"/>
                </a:lnTo>
                <a:lnTo>
                  <a:pt x="3442280" y="2819097"/>
                </a:lnTo>
                <a:lnTo>
                  <a:pt x="3442280" y="2928965"/>
                </a:lnTo>
                <a:lnTo>
                  <a:pt x="3442280" y="2973972"/>
                </a:lnTo>
                <a:lnTo>
                  <a:pt x="3442280" y="3093337"/>
                </a:lnTo>
                <a:lnTo>
                  <a:pt x="3442280" y="3132995"/>
                </a:lnTo>
                <a:lnTo>
                  <a:pt x="3442280" y="3178119"/>
                </a:lnTo>
                <a:lnTo>
                  <a:pt x="3442280" y="3203205"/>
                </a:lnTo>
                <a:lnTo>
                  <a:pt x="3442280" y="3407236"/>
                </a:lnTo>
                <a:lnTo>
                  <a:pt x="3442280" y="3448024"/>
                </a:lnTo>
                <a:lnTo>
                  <a:pt x="3442280" y="3452359"/>
                </a:lnTo>
                <a:lnTo>
                  <a:pt x="3442280" y="3470135"/>
                </a:lnTo>
                <a:lnTo>
                  <a:pt x="3442280" y="3722265"/>
                </a:lnTo>
                <a:lnTo>
                  <a:pt x="3442280" y="3739511"/>
                </a:lnTo>
                <a:lnTo>
                  <a:pt x="3442280" y="3744375"/>
                </a:lnTo>
                <a:lnTo>
                  <a:pt x="3442280" y="3831346"/>
                </a:lnTo>
                <a:lnTo>
                  <a:pt x="3442280" y="4013751"/>
                </a:lnTo>
                <a:lnTo>
                  <a:pt x="3442280" y="4053409"/>
                </a:lnTo>
                <a:lnTo>
                  <a:pt x="3442280" y="4105586"/>
                </a:lnTo>
                <a:lnTo>
                  <a:pt x="3442280" y="4217459"/>
                </a:lnTo>
                <a:lnTo>
                  <a:pt x="3442280" y="4327650"/>
                </a:lnTo>
                <a:lnTo>
                  <a:pt x="3442280" y="4390549"/>
                </a:lnTo>
                <a:lnTo>
                  <a:pt x="3442280" y="4491699"/>
                </a:lnTo>
                <a:lnTo>
                  <a:pt x="3442280" y="4629303"/>
                </a:lnTo>
                <a:lnTo>
                  <a:pt x="3442280" y="4664789"/>
                </a:lnTo>
                <a:lnTo>
                  <a:pt x="3442280" y="4751760"/>
                </a:lnTo>
                <a:lnTo>
                  <a:pt x="3442280" y="4903543"/>
                </a:lnTo>
                <a:lnTo>
                  <a:pt x="3442280" y="5026000"/>
                </a:lnTo>
                <a:lnTo>
                  <a:pt x="3442280" y="5137873"/>
                </a:lnTo>
                <a:lnTo>
                  <a:pt x="3442280" y="5412113"/>
                </a:lnTo>
                <a:lnTo>
                  <a:pt x="3442280" y="5549717"/>
                </a:lnTo>
                <a:lnTo>
                  <a:pt x="3442280" y="5823957"/>
                </a:lnTo>
                <a:cubicBezTo>
                  <a:pt x="3442280" y="5896040"/>
                  <a:pt x="3388282" y="5914060"/>
                  <a:pt x="3361283" y="5918566"/>
                </a:cubicBezTo>
                <a:lnTo>
                  <a:pt x="3346294" y="5920066"/>
                </a:lnTo>
                <a:lnTo>
                  <a:pt x="0" y="5920066"/>
                </a:ln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7031" y="280736"/>
            <a:ext cx="5507633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40052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4806" userDrawn="1">
          <p15:clr>
            <a:srgbClr val="FBAE40"/>
          </p15:clr>
        </p15:guide>
        <p15:guide id="2" pos="5322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566241" y="1201147"/>
            <a:ext cx="9099675" cy="4999652"/>
          </a:xfrm>
          <a:custGeom>
            <a:avLst/>
            <a:gdLst>
              <a:gd name="connsiteX0" fmla="*/ 95997 w 11199600"/>
              <a:gd name="connsiteY0" fmla="*/ 0 h 4999652"/>
              <a:gd name="connsiteX1" fmla="*/ 11103603 w 11199600"/>
              <a:gd name="connsiteY1" fmla="*/ 0 h 4999652"/>
              <a:gd name="connsiteX2" fmla="*/ 11199600 w 11199600"/>
              <a:gd name="connsiteY2" fmla="*/ 96110 h 4999652"/>
              <a:gd name="connsiteX3" fmla="*/ 11199600 w 11199600"/>
              <a:gd name="connsiteY3" fmla="*/ 335165 h 4999652"/>
              <a:gd name="connsiteX4" fmla="*/ 11199600 w 11199600"/>
              <a:gd name="connsiteY4" fmla="*/ 370350 h 4999652"/>
              <a:gd name="connsiteX5" fmla="*/ 11199600 w 11199600"/>
              <a:gd name="connsiteY5" fmla="*/ 379204 h 4999652"/>
              <a:gd name="connsiteX6" fmla="*/ 11199600 w 11199600"/>
              <a:gd name="connsiteY6" fmla="*/ 400048 h 4999652"/>
              <a:gd name="connsiteX7" fmla="*/ 11199600 w 11199600"/>
              <a:gd name="connsiteY7" fmla="*/ 400232 h 4999652"/>
              <a:gd name="connsiteX8" fmla="*/ 11199600 w 11199600"/>
              <a:gd name="connsiteY8" fmla="*/ 471202 h 4999652"/>
              <a:gd name="connsiteX9" fmla="*/ 11199600 w 11199600"/>
              <a:gd name="connsiteY9" fmla="*/ 475721 h 4999652"/>
              <a:gd name="connsiteX10" fmla="*/ 11199600 w 11199600"/>
              <a:gd name="connsiteY10" fmla="*/ 508692 h 4999652"/>
              <a:gd name="connsiteX11" fmla="*/ 11199600 w 11199600"/>
              <a:gd name="connsiteY11" fmla="*/ 554484 h 4999652"/>
              <a:gd name="connsiteX12" fmla="*/ 11199600 w 11199600"/>
              <a:gd name="connsiteY12" fmla="*/ 563015 h 4999652"/>
              <a:gd name="connsiteX13" fmla="*/ 11199600 w 11199600"/>
              <a:gd name="connsiteY13" fmla="*/ 609405 h 4999652"/>
              <a:gd name="connsiteX14" fmla="*/ 11199600 w 11199600"/>
              <a:gd name="connsiteY14" fmla="*/ 662759 h 4999652"/>
              <a:gd name="connsiteX15" fmla="*/ 11199600 w 11199600"/>
              <a:gd name="connsiteY15" fmla="*/ 674288 h 4999652"/>
              <a:gd name="connsiteX16" fmla="*/ 11199600 w 11199600"/>
              <a:gd name="connsiteY16" fmla="*/ 749961 h 4999652"/>
              <a:gd name="connsiteX17" fmla="*/ 11199600 w 11199600"/>
              <a:gd name="connsiteY17" fmla="*/ 775785 h 4999652"/>
              <a:gd name="connsiteX18" fmla="*/ 11199600 w 11199600"/>
              <a:gd name="connsiteY18" fmla="*/ 837255 h 4999652"/>
              <a:gd name="connsiteX19" fmla="*/ 11199600 w 11199600"/>
              <a:gd name="connsiteY19" fmla="*/ 902921 h 4999652"/>
              <a:gd name="connsiteX20" fmla="*/ 11199600 w 11199600"/>
              <a:gd name="connsiteY20" fmla="*/ 936999 h 4999652"/>
              <a:gd name="connsiteX21" fmla="*/ 11199600 w 11199600"/>
              <a:gd name="connsiteY21" fmla="*/ 1016524 h 4999652"/>
              <a:gd name="connsiteX22" fmla="*/ 11199600 w 11199600"/>
              <a:gd name="connsiteY22" fmla="*/ 1029131 h 4999652"/>
              <a:gd name="connsiteX23" fmla="*/ 11199600 w 11199600"/>
              <a:gd name="connsiteY23" fmla="*/ 1044999 h 4999652"/>
              <a:gd name="connsiteX24" fmla="*/ 11199600 w 11199600"/>
              <a:gd name="connsiteY24" fmla="*/ 1046406 h 4999652"/>
              <a:gd name="connsiteX25" fmla="*/ 11199600 w 11199600"/>
              <a:gd name="connsiteY25" fmla="*/ 1050025 h 4999652"/>
              <a:gd name="connsiteX26" fmla="*/ 11199600 w 11199600"/>
              <a:gd name="connsiteY26" fmla="*/ 1074887 h 4999652"/>
              <a:gd name="connsiteX27" fmla="*/ 11199600 w 11199600"/>
              <a:gd name="connsiteY27" fmla="*/ 1176672 h 4999652"/>
              <a:gd name="connsiteX28" fmla="*/ 11199600 w 11199600"/>
              <a:gd name="connsiteY28" fmla="*/ 1177161 h 4999652"/>
              <a:gd name="connsiteX29" fmla="*/ 11199600 w 11199600"/>
              <a:gd name="connsiteY29" fmla="*/ 1202847 h 4999652"/>
              <a:gd name="connsiteX30" fmla="*/ 11199600 w 11199600"/>
              <a:gd name="connsiteY30" fmla="*/ 1208224 h 4999652"/>
              <a:gd name="connsiteX31" fmla="*/ 11199600 w 11199600"/>
              <a:gd name="connsiteY31" fmla="*/ 1255579 h 4999652"/>
              <a:gd name="connsiteX32" fmla="*/ 11199600 w 11199600"/>
              <a:gd name="connsiteY32" fmla="*/ 1290764 h 4999652"/>
              <a:gd name="connsiteX33" fmla="*/ 11199600 w 11199600"/>
              <a:gd name="connsiteY33" fmla="*/ 1299618 h 4999652"/>
              <a:gd name="connsiteX34" fmla="*/ 11199600 w 11199600"/>
              <a:gd name="connsiteY34" fmla="*/ 1319238 h 4999652"/>
              <a:gd name="connsiteX35" fmla="*/ 11199600 w 11199600"/>
              <a:gd name="connsiteY35" fmla="*/ 1319239 h 4999652"/>
              <a:gd name="connsiteX36" fmla="*/ 11199600 w 11199600"/>
              <a:gd name="connsiteY36" fmla="*/ 1320462 h 4999652"/>
              <a:gd name="connsiteX37" fmla="*/ 11199600 w 11199600"/>
              <a:gd name="connsiteY37" fmla="*/ 1320646 h 4999652"/>
              <a:gd name="connsiteX38" fmla="*/ 11199600 w 11199600"/>
              <a:gd name="connsiteY38" fmla="*/ 1337290 h 4999652"/>
              <a:gd name="connsiteX39" fmla="*/ 11199600 w 11199600"/>
              <a:gd name="connsiteY39" fmla="*/ 1349128 h 4999652"/>
              <a:gd name="connsiteX40" fmla="*/ 11199600 w 11199600"/>
              <a:gd name="connsiteY40" fmla="*/ 1362376 h 4999652"/>
              <a:gd name="connsiteX41" fmla="*/ 11199600 w 11199600"/>
              <a:gd name="connsiteY41" fmla="*/ 1377295 h 4999652"/>
              <a:gd name="connsiteX42" fmla="*/ 11199600 w 11199600"/>
              <a:gd name="connsiteY42" fmla="*/ 1377296 h 4999652"/>
              <a:gd name="connsiteX43" fmla="*/ 11199600 w 11199600"/>
              <a:gd name="connsiteY43" fmla="*/ 1391616 h 4999652"/>
              <a:gd name="connsiteX44" fmla="*/ 11199600 w 11199600"/>
              <a:gd name="connsiteY44" fmla="*/ 1396135 h 4999652"/>
              <a:gd name="connsiteX45" fmla="*/ 11199600 w 11199600"/>
              <a:gd name="connsiteY45" fmla="*/ 1429106 h 4999652"/>
              <a:gd name="connsiteX46" fmla="*/ 11199600 w 11199600"/>
              <a:gd name="connsiteY46" fmla="*/ 1474898 h 4999652"/>
              <a:gd name="connsiteX47" fmla="*/ 11199600 w 11199600"/>
              <a:gd name="connsiteY47" fmla="*/ 1477086 h 4999652"/>
              <a:gd name="connsiteX48" fmla="*/ 11199600 w 11199600"/>
              <a:gd name="connsiteY48" fmla="*/ 1477087 h 4999652"/>
              <a:gd name="connsiteX49" fmla="*/ 11199600 w 11199600"/>
              <a:gd name="connsiteY49" fmla="*/ 1483429 h 4999652"/>
              <a:gd name="connsiteX50" fmla="*/ 11199600 w 11199600"/>
              <a:gd name="connsiteY50" fmla="*/ 1529819 h 4999652"/>
              <a:gd name="connsiteX51" fmla="*/ 11199600 w 11199600"/>
              <a:gd name="connsiteY51" fmla="*/ 1569176 h 4999652"/>
              <a:gd name="connsiteX52" fmla="*/ 11199600 w 11199600"/>
              <a:gd name="connsiteY52" fmla="*/ 1569177 h 4999652"/>
              <a:gd name="connsiteX53" fmla="*/ 11199600 w 11199600"/>
              <a:gd name="connsiteY53" fmla="*/ 1583173 h 4999652"/>
              <a:gd name="connsiteX54" fmla="*/ 11199600 w 11199600"/>
              <a:gd name="connsiteY54" fmla="*/ 1594702 h 4999652"/>
              <a:gd name="connsiteX55" fmla="*/ 11199600 w 11199600"/>
              <a:gd name="connsiteY55" fmla="*/ 1607195 h 4999652"/>
              <a:gd name="connsiteX56" fmla="*/ 11199600 w 11199600"/>
              <a:gd name="connsiteY56" fmla="*/ 1611530 h 4999652"/>
              <a:gd name="connsiteX57" fmla="*/ 11199600 w 11199600"/>
              <a:gd name="connsiteY57" fmla="*/ 1651535 h 4999652"/>
              <a:gd name="connsiteX58" fmla="*/ 11199600 w 11199600"/>
              <a:gd name="connsiteY58" fmla="*/ 1651536 h 4999652"/>
              <a:gd name="connsiteX59" fmla="*/ 11199600 w 11199600"/>
              <a:gd name="connsiteY59" fmla="*/ 1670375 h 4999652"/>
              <a:gd name="connsiteX60" fmla="*/ 11199600 w 11199600"/>
              <a:gd name="connsiteY60" fmla="*/ 1696199 h 4999652"/>
              <a:gd name="connsiteX61" fmla="*/ 11199600 w 11199600"/>
              <a:gd name="connsiteY61" fmla="*/ 1757669 h 4999652"/>
              <a:gd name="connsiteX62" fmla="*/ 11199600 w 11199600"/>
              <a:gd name="connsiteY62" fmla="*/ 1779317 h 4999652"/>
              <a:gd name="connsiteX63" fmla="*/ 11199600 w 11199600"/>
              <a:gd name="connsiteY63" fmla="*/ 1779318 h 4999652"/>
              <a:gd name="connsiteX64" fmla="*/ 11199600 w 11199600"/>
              <a:gd name="connsiteY64" fmla="*/ 1823335 h 4999652"/>
              <a:gd name="connsiteX65" fmla="*/ 11199600 w 11199600"/>
              <a:gd name="connsiteY65" fmla="*/ 1843416 h 4999652"/>
              <a:gd name="connsiteX66" fmla="*/ 11199600 w 11199600"/>
              <a:gd name="connsiteY66" fmla="*/ 1843417 h 4999652"/>
              <a:gd name="connsiteX67" fmla="*/ 11199600 w 11199600"/>
              <a:gd name="connsiteY67" fmla="*/ 1857413 h 4999652"/>
              <a:gd name="connsiteX68" fmla="*/ 11199600 w 11199600"/>
              <a:gd name="connsiteY68" fmla="*/ 1881436 h 4999652"/>
              <a:gd name="connsiteX69" fmla="*/ 11199600 w 11199600"/>
              <a:gd name="connsiteY69" fmla="*/ 1898682 h 4999652"/>
              <a:gd name="connsiteX70" fmla="*/ 11199600 w 11199600"/>
              <a:gd name="connsiteY70" fmla="*/ 1965413 h 4999652"/>
              <a:gd name="connsiteX71" fmla="*/ 11199600 w 11199600"/>
              <a:gd name="connsiteY71" fmla="*/ 1970439 h 4999652"/>
              <a:gd name="connsiteX72" fmla="*/ 11199600 w 11199600"/>
              <a:gd name="connsiteY72" fmla="*/ 2008550 h 4999652"/>
              <a:gd name="connsiteX73" fmla="*/ 11199600 w 11199600"/>
              <a:gd name="connsiteY73" fmla="*/ 2008551 h 4999652"/>
              <a:gd name="connsiteX74" fmla="*/ 11199600 w 11199600"/>
              <a:gd name="connsiteY74" fmla="*/ 2053557 h 4999652"/>
              <a:gd name="connsiteX75" fmla="*/ 11199600 w 11199600"/>
              <a:gd name="connsiteY75" fmla="*/ 2053558 h 4999652"/>
              <a:gd name="connsiteX76" fmla="*/ 11199600 w 11199600"/>
              <a:gd name="connsiteY76" fmla="*/ 2097575 h 4999652"/>
              <a:gd name="connsiteX77" fmla="*/ 11199600 w 11199600"/>
              <a:gd name="connsiteY77" fmla="*/ 2123261 h 4999652"/>
              <a:gd name="connsiteX78" fmla="*/ 11199600 w 11199600"/>
              <a:gd name="connsiteY78" fmla="*/ 2172922 h 4999652"/>
              <a:gd name="connsiteX79" fmla="*/ 11199600 w 11199600"/>
              <a:gd name="connsiteY79" fmla="*/ 2212580 h 4999652"/>
              <a:gd name="connsiteX80" fmla="*/ 11199600 w 11199600"/>
              <a:gd name="connsiteY80" fmla="*/ 2239653 h 4999652"/>
              <a:gd name="connsiteX81" fmla="*/ 11199600 w 11199600"/>
              <a:gd name="connsiteY81" fmla="*/ 2257704 h 4999652"/>
              <a:gd name="connsiteX82" fmla="*/ 11199600 w 11199600"/>
              <a:gd name="connsiteY82" fmla="*/ 2257705 h 4999652"/>
              <a:gd name="connsiteX83" fmla="*/ 11199600 w 11199600"/>
              <a:gd name="connsiteY83" fmla="*/ 2282790 h 4999652"/>
              <a:gd name="connsiteX84" fmla="*/ 11199600 w 11199600"/>
              <a:gd name="connsiteY84" fmla="*/ 2282791 h 4999652"/>
              <a:gd name="connsiteX85" fmla="*/ 11199600 w 11199600"/>
              <a:gd name="connsiteY85" fmla="*/ 2297710 h 4999652"/>
              <a:gd name="connsiteX86" fmla="*/ 11199600 w 11199600"/>
              <a:gd name="connsiteY86" fmla="*/ 2397501 h 4999652"/>
              <a:gd name="connsiteX87" fmla="*/ 11199600 w 11199600"/>
              <a:gd name="connsiteY87" fmla="*/ 2486821 h 4999652"/>
              <a:gd name="connsiteX88" fmla="*/ 11199600 w 11199600"/>
              <a:gd name="connsiteY88" fmla="*/ 2489591 h 4999652"/>
              <a:gd name="connsiteX89" fmla="*/ 11199600 w 11199600"/>
              <a:gd name="connsiteY89" fmla="*/ 2527609 h 4999652"/>
              <a:gd name="connsiteX90" fmla="*/ 11199600 w 11199600"/>
              <a:gd name="connsiteY90" fmla="*/ 2527610 h 4999652"/>
              <a:gd name="connsiteX91" fmla="*/ 11199600 w 11199600"/>
              <a:gd name="connsiteY91" fmla="*/ 2531944 h 4999652"/>
              <a:gd name="connsiteX92" fmla="*/ 11199600 w 11199600"/>
              <a:gd name="connsiteY92" fmla="*/ 2531945 h 4999652"/>
              <a:gd name="connsiteX93" fmla="*/ 11199600 w 11199600"/>
              <a:gd name="connsiteY93" fmla="*/ 2549720 h 4999652"/>
              <a:gd name="connsiteX94" fmla="*/ 11199600 w 11199600"/>
              <a:gd name="connsiteY94" fmla="*/ 2571950 h 4999652"/>
              <a:gd name="connsiteX95" fmla="*/ 11199600 w 11199600"/>
              <a:gd name="connsiteY95" fmla="*/ 2699732 h 4999652"/>
              <a:gd name="connsiteX96" fmla="*/ 11199600 w 11199600"/>
              <a:gd name="connsiteY96" fmla="*/ 2763831 h 4999652"/>
              <a:gd name="connsiteX97" fmla="*/ 11199600 w 11199600"/>
              <a:gd name="connsiteY97" fmla="*/ 2790282 h 4999652"/>
              <a:gd name="connsiteX98" fmla="*/ 11199600 w 11199600"/>
              <a:gd name="connsiteY98" fmla="*/ 2801850 h 4999652"/>
              <a:gd name="connsiteX99" fmla="*/ 11199600 w 11199600"/>
              <a:gd name="connsiteY99" fmla="*/ 2819096 h 4999652"/>
              <a:gd name="connsiteX100" fmla="*/ 11199600 w 11199600"/>
              <a:gd name="connsiteY100" fmla="*/ 2823960 h 4999652"/>
              <a:gd name="connsiteX101" fmla="*/ 11199600 w 11199600"/>
              <a:gd name="connsiteY101" fmla="*/ 2910931 h 4999652"/>
              <a:gd name="connsiteX102" fmla="*/ 11199600 w 11199600"/>
              <a:gd name="connsiteY102" fmla="*/ 3093336 h 4999652"/>
              <a:gd name="connsiteX103" fmla="*/ 11199600 w 11199600"/>
              <a:gd name="connsiteY103" fmla="*/ 3132994 h 4999652"/>
              <a:gd name="connsiteX104" fmla="*/ 11199600 w 11199600"/>
              <a:gd name="connsiteY104" fmla="*/ 3185171 h 4999652"/>
              <a:gd name="connsiteX105" fmla="*/ 11199600 w 11199600"/>
              <a:gd name="connsiteY105" fmla="*/ 3297044 h 4999652"/>
              <a:gd name="connsiteX106" fmla="*/ 11199600 w 11199600"/>
              <a:gd name="connsiteY106" fmla="*/ 3407235 h 4999652"/>
              <a:gd name="connsiteX107" fmla="*/ 11199600 w 11199600"/>
              <a:gd name="connsiteY107" fmla="*/ 3470134 h 4999652"/>
              <a:gd name="connsiteX108" fmla="*/ 11199600 w 11199600"/>
              <a:gd name="connsiteY108" fmla="*/ 3571284 h 4999652"/>
              <a:gd name="connsiteX109" fmla="*/ 11199600 w 11199600"/>
              <a:gd name="connsiteY109" fmla="*/ 3708888 h 4999652"/>
              <a:gd name="connsiteX110" fmla="*/ 11199600 w 11199600"/>
              <a:gd name="connsiteY110" fmla="*/ 3744374 h 4999652"/>
              <a:gd name="connsiteX111" fmla="*/ 11199600 w 11199600"/>
              <a:gd name="connsiteY111" fmla="*/ 3831345 h 4999652"/>
              <a:gd name="connsiteX112" fmla="*/ 11199600 w 11199600"/>
              <a:gd name="connsiteY112" fmla="*/ 3983128 h 4999652"/>
              <a:gd name="connsiteX113" fmla="*/ 11199600 w 11199600"/>
              <a:gd name="connsiteY113" fmla="*/ 4105585 h 4999652"/>
              <a:gd name="connsiteX114" fmla="*/ 11199600 w 11199600"/>
              <a:gd name="connsiteY114" fmla="*/ 4217458 h 4999652"/>
              <a:gd name="connsiteX115" fmla="*/ 11199600 w 11199600"/>
              <a:gd name="connsiteY115" fmla="*/ 4491698 h 4999652"/>
              <a:gd name="connsiteX116" fmla="*/ 11199600 w 11199600"/>
              <a:gd name="connsiteY116" fmla="*/ 4629302 h 4999652"/>
              <a:gd name="connsiteX117" fmla="*/ 11199600 w 11199600"/>
              <a:gd name="connsiteY117" fmla="*/ 4903542 h 4999652"/>
              <a:gd name="connsiteX118" fmla="*/ 11103603 w 11199600"/>
              <a:gd name="connsiteY118" fmla="*/ 4999652 h 4999652"/>
              <a:gd name="connsiteX119" fmla="*/ 95997 w 11199600"/>
              <a:gd name="connsiteY119" fmla="*/ 4999652 h 4999652"/>
              <a:gd name="connsiteX120" fmla="*/ 0 w 11199600"/>
              <a:gd name="connsiteY120" fmla="*/ 4903542 h 4999652"/>
              <a:gd name="connsiteX121" fmla="*/ 0 w 11199600"/>
              <a:gd name="connsiteY121" fmla="*/ 4899807 h 4999652"/>
              <a:gd name="connsiteX122" fmla="*/ 0 w 11199600"/>
              <a:gd name="connsiteY122" fmla="*/ 4890936 h 4999652"/>
              <a:gd name="connsiteX123" fmla="*/ 0 w 11199600"/>
              <a:gd name="connsiteY123" fmla="*/ 4873660 h 4999652"/>
              <a:gd name="connsiteX124" fmla="*/ 0 w 11199600"/>
              <a:gd name="connsiteY124" fmla="*/ 4845179 h 4999652"/>
              <a:gd name="connsiteX125" fmla="*/ 0 w 11199600"/>
              <a:gd name="connsiteY125" fmla="*/ 4802691 h 4999652"/>
              <a:gd name="connsiteX126" fmla="*/ 0 w 11199600"/>
              <a:gd name="connsiteY126" fmla="*/ 4743394 h 4999652"/>
              <a:gd name="connsiteX127" fmla="*/ 0 w 11199600"/>
              <a:gd name="connsiteY127" fmla="*/ 4664487 h 4999652"/>
              <a:gd name="connsiteX128" fmla="*/ 0 w 11199600"/>
              <a:gd name="connsiteY128" fmla="*/ 4629302 h 4999652"/>
              <a:gd name="connsiteX129" fmla="*/ 0 w 11199600"/>
              <a:gd name="connsiteY129" fmla="*/ 4628196 h 4999652"/>
              <a:gd name="connsiteX130" fmla="*/ 0 w 11199600"/>
              <a:gd name="connsiteY130" fmla="*/ 4620448 h 4999652"/>
              <a:gd name="connsiteX131" fmla="*/ 0 w 11199600"/>
              <a:gd name="connsiteY131" fmla="*/ 4599605 h 4999652"/>
              <a:gd name="connsiteX132" fmla="*/ 0 w 11199600"/>
              <a:gd name="connsiteY132" fmla="*/ 4599420 h 4999652"/>
              <a:gd name="connsiteX133" fmla="*/ 0 w 11199600"/>
              <a:gd name="connsiteY133" fmla="*/ 4558471 h 4999652"/>
              <a:gd name="connsiteX134" fmla="*/ 0 w 11199600"/>
              <a:gd name="connsiteY134" fmla="*/ 4528451 h 4999652"/>
              <a:gd name="connsiteX135" fmla="*/ 0 w 11199600"/>
              <a:gd name="connsiteY135" fmla="*/ 4523932 h 4999652"/>
              <a:gd name="connsiteX136" fmla="*/ 0 w 11199600"/>
              <a:gd name="connsiteY136" fmla="*/ 4490960 h 4999652"/>
              <a:gd name="connsiteX137" fmla="*/ 0 w 11199600"/>
              <a:gd name="connsiteY137" fmla="*/ 4445169 h 4999652"/>
              <a:gd name="connsiteX138" fmla="*/ 0 w 11199600"/>
              <a:gd name="connsiteY138" fmla="*/ 4436638 h 4999652"/>
              <a:gd name="connsiteX139" fmla="*/ 0 w 11199600"/>
              <a:gd name="connsiteY139" fmla="*/ 4390247 h 4999652"/>
              <a:gd name="connsiteX140" fmla="*/ 0 w 11199600"/>
              <a:gd name="connsiteY140" fmla="*/ 4336893 h 4999652"/>
              <a:gd name="connsiteX141" fmla="*/ 0 w 11199600"/>
              <a:gd name="connsiteY141" fmla="*/ 4325365 h 4999652"/>
              <a:gd name="connsiteX142" fmla="*/ 0 w 11199600"/>
              <a:gd name="connsiteY142" fmla="*/ 4249692 h 4999652"/>
              <a:gd name="connsiteX143" fmla="*/ 0 w 11199600"/>
              <a:gd name="connsiteY143" fmla="*/ 4223868 h 4999652"/>
              <a:gd name="connsiteX144" fmla="*/ 0 w 11199600"/>
              <a:gd name="connsiteY144" fmla="*/ 4162398 h 4999652"/>
              <a:gd name="connsiteX145" fmla="*/ 0 w 11199600"/>
              <a:gd name="connsiteY145" fmla="*/ 4096731 h 4999652"/>
              <a:gd name="connsiteX146" fmla="*/ 0 w 11199600"/>
              <a:gd name="connsiteY146" fmla="*/ 4062653 h 4999652"/>
              <a:gd name="connsiteX147" fmla="*/ 0 w 11199600"/>
              <a:gd name="connsiteY147" fmla="*/ 3983128 h 4999652"/>
              <a:gd name="connsiteX148" fmla="*/ 0 w 11199600"/>
              <a:gd name="connsiteY148" fmla="*/ 3979393 h 4999652"/>
              <a:gd name="connsiteX149" fmla="*/ 0 w 11199600"/>
              <a:gd name="connsiteY149" fmla="*/ 3970522 h 4999652"/>
              <a:gd name="connsiteX150" fmla="*/ 0 w 11199600"/>
              <a:gd name="connsiteY150" fmla="*/ 3954654 h 4999652"/>
              <a:gd name="connsiteX151" fmla="*/ 0 w 11199600"/>
              <a:gd name="connsiteY151" fmla="*/ 3953246 h 4999652"/>
              <a:gd name="connsiteX152" fmla="*/ 0 w 11199600"/>
              <a:gd name="connsiteY152" fmla="*/ 3949628 h 4999652"/>
              <a:gd name="connsiteX153" fmla="*/ 0 w 11199600"/>
              <a:gd name="connsiteY153" fmla="*/ 3924765 h 4999652"/>
              <a:gd name="connsiteX154" fmla="*/ 0 w 11199600"/>
              <a:gd name="connsiteY154" fmla="*/ 3882277 h 4999652"/>
              <a:gd name="connsiteX155" fmla="*/ 0 w 11199600"/>
              <a:gd name="connsiteY155" fmla="*/ 3822980 h 4999652"/>
              <a:gd name="connsiteX156" fmla="*/ 0 w 11199600"/>
              <a:gd name="connsiteY156" fmla="*/ 3822491 h 4999652"/>
              <a:gd name="connsiteX157" fmla="*/ 0 w 11199600"/>
              <a:gd name="connsiteY157" fmla="*/ 3796806 h 4999652"/>
              <a:gd name="connsiteX158" fmla="*/ 0 w 11199600"/>
              <a:gd name="connsiteY158" fmla="*/ 3744073 h 4999652"/>
              <a:gd name="connsiteX159" fmla="*/ 0 w 11199600"/>
              <a:gd name="connsiteY159" fmla="*/ 3708888 h 4999652"/>
              <a:gd name="connsiteX160" fmla="*/ 0 w 11199600"/>
              <a:gd name="connsiteY160" fmla="*/ 3707782 h 4999652"/>
              <a:gd name="connsiteX161" fmla="*/ 0 w 11199600"/>
              <a:gd name="connsiteY161" fmla="*/ 3700034 h 4999652"/>
              <a:gd name="connsiteX162" fmla="*/ 0 w 11199600"/>
              <a:gd name="connsiteY162" fmla="*/ 3680414 h 4999652"/>
              <a:gd name="connsiteX163" fmla="*/ 0 w 11199600"/>
              <a:gd name="connsiteY163" fmla="*/ 3679191 h 4999652"/>
              <a:gd name="connsiteX164" fmla="*/ 0 w 11199600"/>
              <a:gd name="connsiteY164" fmla="*/ 3679006 h 4999652"/>
              <a:gd name="connsiteX165" fmla="*/ 0 w 11199600"/>
              <a:gd name="connsiteY165" fmla="*/ 3638057 h 4999652"/>
              <a:gd name="connsiteX166" fmla="*/ 0 w 11199600"/>
              <a:gd name="connsiteY166" fmla="*/ 3622356 h 4999652"/>
              <a:gd name="connsiteX167" fmla="*/ 0 w 11199600"/>
              <a:gd name="connsiteY167" fmla="*/ 3608037 h 4999652"/>
              <a:gd name="connsiteX168" fmla="*/ 0 w 11199600"/>
              <a:gd name="connsiteY168" fmla="*/ 3603518 h 4999652"/>
              <a:gd name="connsiteX169" fmla="*/ 0 w 11199600"/>
              <a:gd name="connsiteY169" fmla="*/ 3570546 h 4999652"/>
              <a:gd name="connsiteX170" fmla="*/ 0 w 11199600"/>
              <a:gd name="connsiteY170" fmla="*/ 3524755 h 4999652"/>
              <a:gd name="connsiteX171" fmla="*/ 0 w 11199600"/>
              <a:gd name="connsiteY171" fmla="*/ 3522566 h 4999652"/>
              <a:gd name="connsiteX172" fmla="*/ 0 w 11199600"/>
              <a:gd name="connsiteY172" fmla="*/ 3516224 h 4999652"/>
              <a:gd name="connsiteX173" fmla="*/ 0 w 11199600"/>
              <a:gd name="connsiteY173" fmla="*/ 3469833 h 4999652"/>
              <a:gd name="connsiteX174" fmla="*/ 0 w 11199600"/>
              <a:gd name="connsiteY174" fmla="*/ 3430476 h 4999652"/>
              <a:gd name="connsiteX175" fmla="*/ 0 w 11199600"/>
              <a:gd name="connsiteY175" fmla="*/ 3416479 h 4999652"/>
              <a:gd name="connsiteX176" fmla="*/ 0 w 11199600"/>
              <a:gd name="connsiteY176" fmla="*/ 3404951 h 4999652"/>
              <a:gd name="connsiteX177" fmla="*/ 0 w 11199600"/>
              <a:gd name="connsiteY177" fmla="*/ 3348116 h 4999652"/>
              <a:gd name="connsiteX178" fmla="*/ 0 w 11199600"/>
              <a:gd name="connsiteY178" fmla="*/ 3329278 h 4999652"/>
              <a:gd name="connsiteX179" fmla="*/ 0 w 11199600"/>
              <a:gd name="connsiteY179" fmla="*/ 3303454 h 4999652"/>
              <a:gd name="connsiteX180" fmla="*/ 0 w 11199600"/>
              <a:gd name="connsiteY180" fmla="*/ 3241984 h 4999652"/>
              <a:gd name="connsiteX181" fmla="*/ 0 w 11199600"/>
              <a:gd name="connsiteY181" fmla="*/ 3220334 h 4999652"/>
              <a:gd name="connsiteX182" fmla="*/ 0 w 11199600"/>
              <a:gd name="connsiteY182" fmla="*/ 3176317 h 4999652"/>
              <a:gd name="connsiteX183" fmla="*/ 0 w 11199600"/>
              <a:gd name="connsiteY183" fmla="*/ 3156236 h 4999652"/>
              <a:gd name="connsiteX184" fmla="*/ 0 w 11199600"/>
              <a:gd name="connsiteY184" fmla="*/ 3142239 h 4999652"/>
              <a:gd name="connsiteX185" fmla="*/ 0 w 11199600"/>
              <a:gd name="connsiteY185" fmla="*/ 3034240 h 4999652"/>
              <a:gd name="connsiteX186" fmla="*/ 0 w 11199600"/>
              <a:gd name="connsiteY186" fmla="*/ 3029214 h 4999652"/>
              <a:gd name="connsiteX187" fmla="*/ 0 w 11199600"/>
              <a:gd name="connsiteY187" fmla="*/ 2991101 h 4999652"/>
              <a:gd name="connsiteX188" fmla="*/ 0 w 11199600"/>
              <a:gd name="connsiteY188" fmla="*/ 2946094 h 4999652"/>
              <a:gd name="connsiteX189" fmla="*/ 0 w 11199600"/>
              <a:gd name="connsiteY189" fmla="*/ 2902077 h 4999652"/>
              <a:gd name="connsiteX190" fmla="*/ 0 w 11199600"/>
              <a:gd name="connsiteY190" fmla="*/ 2876392 h 4999652"/>
              <a:gd name="connsiteX191" fmla="*/ 0 w 11199600"/>
              <a:gd name="connsiteY191" fmla="*/ 2790282 h 4999652"/>
              <a:gd name="connsiteX192" fmla="*/ 0 w 11199600"/>
              <a:gd name="connsiteY192" fmla="*/ 2787072 h 4999652"/>
              <a:gd name="connsiteX193" fmla="*/ 0 w 11199600"/>
              <a:gd name="connsiteY193" fmla="*/ 2760000 h 4999652"/>
              <a:gd name="connsiteX194" fmla="*/ 0 w 11199600"/>
              <a:gd name="connsiteY194" fmla="*/ 2741948 h 4999652"/>
              <a:gd name="connsiteX195" fmla="*/ 0 w 11199600"/>
              <a:gd name="connsiteY195" fmla="*/ 2741947 h 4999652"/>
              <a:gd name="connsiteX196" fmla="*/ 0 w 11199600"/>
              <a:gd name="connsiteY196" fmla="*/ 2716862 h 4999652"/>
              <a:gd name="connsiteX197" fmla="*/ 0 w 11199600"/>
              <a:gd name="connsiteY197" fmla="*/ 2716861 h 4999652"/>
              <a:gd name="connsiteX198" fmla="*/ 0 w 11199600"/>
              <a:gd name="connsiteY198" fmla="*/ 2701942 h 4999652"/>
              <a:gd name="connsiteX199" fmla="*/ 0 w 11199600"/>
              <a:gd name="connsiteY199" fmla="*/ 2602152 h 4999652"/>
              <a:gd name="connsiteX200" fmla="*/ 0 w 11199600"/>
              <a:gd name="connsiteY200" fmla="*/ 2512832 h 4999652"/>
              <a:gd name="connsiteX201" fmla="*/ 0 w 11199600"/>
              <a:gd name="connsiteY201" fmla="*/ 2510062 h 4999652"/>
              <a:gd name="connsiteX202" fmla="*/ 0 w 11199600"/>
              <a:gd name="connsiteY202" fmla="*/ 2472043 h 4999652"/>
              <a:gd name="connsiteX203" fmla="*/ 0 w 11199600"/>
              <a:gd name="connsiteY203" fmla="*/ 2472042 h 4999652"/>
              <a:gd name="connsiteX204" fmla="*/ 0 w 11199600"/>
              <a:gd name="connsiteY204" fmla="*/ 2467708 h 4999652"/>
              <a:gd name="connsiteX205" fmla="*/ 0 w 11199600"/>
              <a:gd name="connsiteY205" fmla="*/ 2467707 h 4999652"/>
              <a:gd name="connsiteX206" fmla="*/ 0 w 11199600"/>
              <a:gd name="connsiteY206" fmla="*/ 2449933 h 4999652"/>
              <a:gd name="connsiteX207" fmla="*/ 0 w 11199600"/>
              <a:gd name="connsiteY207" fmla="*/ 2427702 h 4999652"/>
              <a:gd name="connsiteX208" fmla="*/ 0 w 11199600"/>
              <a:gd name="connsiteY208" fmla="*/ 2299920 h 4999652"/>
              <a:gd name="connsiteX209" fmla="*/ 0 w 11199600"/>
              <a:gd name="connsiteY209" fmla="*/ 2235822 h 4999652"/>
              <a:gd name="connsiteX210" fmla="*/ 0 w 11199600"/>
              <a:gd name="connsiteY210" fmla="*/ 2197803 h 4999652"/>
              <a:gd name="connsiteX211" fmla="*/ 0 w 11199600"/>
              <a:gd name="connsiteY211" fmla="*/ 2197802 h 4999652"/>
              <a:gd name="connsiteX212" fmla="*/ 0 w 11199600"/>
              <a:gd name="connsiteY212" fmla="*/ 2180556 h 4999652"/>
              <a:gd name="connsiteX213" fmla="*/ 0 w 11199600"/>
              <a:gd name="connsiteY213" fmla="*/ 2180555 h 4999652"/>
              <a:gd name="connsiteX214" fmla="*/ 0 w 11199600"/>
              <a:gd name="connsiteY214" fmla="*/ 2175692 h 4999652"/>
              <a:gd name="connsiteX215" fmla="*/ 0 w 11199600"/>
              <a:gd name="connsiteY215" fmla="*/ 2088721 h 4999652"/>
              <a:gd name="connsiteX216" fmla="*/ 0 w 11199600"/>
              <a:gd name="connsiteY216" fmla="*/ 2070687 h 4999652"/>
              <a:gd name="connsiteX217" fmla="*/ 0 w 11199600"/>
              <a:gd name="connsiteY217" fmla="*/ 2025680 h 4999652"/>
              <a:gd name="connsiteX218" fmla="*/ 0 w 11199600"/>
              <a:gd name="connsiteY218" fmla="*/ 1906316 h 4999652"/>
              <a:gd name="connsiteX219" fmla="*/ 0 w 11199600"/>
              <a:gd name="connsiteY219" fmla="*/ 1906315 h 4999652"/>
              <a:gd name="connsiteX220" fmla="*/ 0 w 11199600"/>
              <a:gd name="connsiteY220" fmla="*/ 1866658 h 4999652"/>
              <a:gd name="connsiteX221" fmla="*/ 0 w 11199600"/>
              <a:gd name="connsiteY221" fmla="*/ 1866657 h 4999652"/>
              <a:gd name="connsiteX222" fmla="*/ 0 w 11199600"/>
              <a:gd name="connsiteY222" fmla="*/ 1821533 h 4999652"/>
              <a:gd name="connsiteX223" fmla="*/ 0 w 11199600"/>
              <a:gd name="connsiteY223" fmla="*/ 1814481 h 4999652"/>
              <a:gd name="connsiteX224" fmla="*/ 0 w 11199600"/>
              <a:gd name="connsiteY224" fmla="*/ 1796447 h 4999652"/>
              <a:gd name="connsiteX225" fmla="*/ 0 w 11199600"/>
              <a:gd name="connsiteY225" fmla="*/ 1702609 h 4999652"/>
              <a:gd name="connsiteX226" fmla="*/ 0 w 11199600"/>
              <a:gd name="connsiteY226" fmla="*/ 1592418 h 4999652"/>
              <a:gd name="connsiteX227" fmla="*/ 0 w 11199600"/>
              <a:gd name="connsiteY227" fmla="*/ 1592417 h 4999652"/>
              <a:gd name="connsiteX228" fmla="*/ 0 w 11199600"/>
              <a:gd name="connsiteY228" fmla="*/ 1551628 h 4999652"/>
              <a:gd name="connsiteX229" fmla="*/ 0 w 11199600"/>
              <a:gd name="connsiteY229" fmla="*/ 1547293 h 4999652"/>
              <a:gd name="connsiteX230" fmla="*/ 0 w 11199600"/>
              <a:gd name="connsiteY230" fmla="*/ 1529519 h 4999652"/>
              <a:gd name="connsiteX231" fmla="*/ 0 w 11199600"/>
              <a:gd name="connsiteY231" fmla="*/ 1529518 h 4999652"/>
              <a:gd name="connsiteX232" fmla="*/ 0 w 11199600"/>
              <a:gd name="connsiteY232" fmla="*/ 1428369 h 4999652"/>
              <a:gd name="connsiteX233" fmla="*/ 0 w 11199600"/>
              <a:gd name="connsiteY233" fmla="*/ 1290764 h 4999652"/>
              <a:gd name="connsiteX234" fmla="*/ 0 w 11199600"/>
              <a:gd name="connsiteY234" fmla="*/ 1277388 h 4999652"/>
              <a:gd name="connsiteX235" fmla="*/ 0 w 11199600"/>
              <a:gd name="connsiteY235" fmla="*/ 1260141 h 4999652"/>
              <a:gd name="connsiteX236" fmla="*/ 0 w 11199600"/>
              <a:gd name="connsiteY236" fmla="*/ 1255278 h 4999652"/>
              <a:gd name="connsiteX237" fmla="*/ 0 w 11199600"/>
              <a:gd name="connsiteY237" fmla="*/ 1255277 h 4999652"/>
              <a:gd name="connsiteX238" fmla="*/ 0 w 11199600"/>
              <a:gd name="connsiteY238" fmla="*/ 1208224 h 4999652"/>
              <a:gd name="connsiteX239" fmla="*/ 0 w 11199600"/>
              <a:gd name="connsiteY239" fmla="*/ 1168307 h 4999652"/>
              <a:gd name="connsiteX240" fmla="*/ 0 w 11199600"/>
              <a:gd name="connsiteY240" fmla="*/ 1016524 h 4999652"/>
              <a:gd name="connsiteX241" fmla="*/ 0 w 11199600"/>
              <a:gd name="connsiteY241" fmla="*/ 894067 h 4999652"/>
              <a:gd name="connsiteX242" fmla="*/ 0 w 11199600"/>
              <a:gd name="connsiteY242" fmla="*/ 782195 h 4999652"/>
              <a:gd name="connsiteX243" fmla="*/ 0 w 11199600"/>
              <a:gd name="connsiteY243" fmla="*/ 507955 h 4999652"/>
              <a:gd name="connsiteX244" fmla="*/ 0 w 11199600"/>
              <a:gd name="connsiteY244" fmla="*/ 370350 h 4999652"/>
              <a:gd name="connsiteX245" fmla="*/ 0 w 11199600"/>
              <a:gd name="connsiteY245" fmla="*/ 96110 h 4999652"/>
              <a:gd name="connsiteX246" fmla="*/ 95997 w 11199600"/>
              <a:gd name="connsiteY246" fmla="*/ 0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</a:cxnLst>
            <a:rect l="l" t="t" r="r" b="b"/>
            <a:pathLst>
              <a:path w="11199600" h="4999652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08224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8"/>
                </a:ln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lnTo>
                  <a:pt x="11199600" y="1337290"/>
                </a:lnTo>
                <a:lnTo>
                  <a:pt x="11199600" y="1349128"/>
                </a:lnTo>
                <a:lnTo>
                  <a:pt x="11199600" y="1362376"/>
                </a:lnTo>
                <a:lnTo>
                  <a:pt x="11199600" y="1377295"/>
                </a:ln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6"/>
                </a:ln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6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07195"/>
                </a:lnTo>
                <a:lnTo>
                  <a:pt x="11199600" y="1611530"/>
                </a:lnTo>
                <a:lnTo>
                  <a:pt x="11199600" y="1651535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7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6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881436"/>
                </a:lnTo>
                <a:lnTo>
                  <a:pt x="11199600" y="1898682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0"/>
                </a:lnTo>
                <a:lnTo>
                  <a:pt x="11199600" y="2008551"/>
                </a:lnTo>
                <a:lnTo>
                  <a:pt x="11199600" y="2053557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172922"/>
                </a:lnTo>
                <a:lnTo>
                  <a:pt x="11199600" y="2212580"/>
                </a:lnTo>
                <a:lnTo>
                  <a:pt x="11199600" y="2239653"/>
                </a:lnTo>
                <a:lnTo>
                  <a:pt x="11199600" y="2257704"/>
                </a:lnTo>
                <a:lnTo>
                  <a:pt x="11199600" y="2257705"/>
                </a:lnTo>
                <a:lnTo>
                  <a:pt x="11199600" y="2282790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6821"/>
                </a:lnTo>
                <a:lnTo>
                  <a:pt x="11199600" y="2489591"/>
                </a:lnTo>
                <a:lnTo>
                  <a:pt x="11199600" y="2527609"/>
                </a:lnTo>
                <a:lnTo>
                  <a:pt x="11199600" y="2527610"/>
                </a:lnTo>
                <a:lnTo>
                  <a:pt x="11199600" y="2531944"/>
                </a:lnTo>
                <a:lnTo>
                  <a:pt x="11199600" y="2531945"/>
                </a:lnTo>
                <a:lnTo>
                  <a:pt x="11199600" y="2549720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790282"/>
                </a:lnTo>
                <a:lnTo>
                  <a:pt x="11199600" y="2801850"/>
                </a:lnTo>
                <a:lnTo>
                  <a:pt x="11199600" y="2819096"/>
                </a:lnTo>
                <a:lnTo>
                  <a:pt x="11199600" y="2823960"/>
                </a:lnTo>
                <a:lnTo>
                  <a:pt x="11199600" y="2910931"/>
                </a:lnTo>
                <a:lnTo>
                  <a:pt x="11199600" y="3093336"/>
                </a:lnTo>
                <a:lnTo>
                  <a:pt x="11199600" y="3132994"/>
                </a:lnTo>
                <a:lnTo>
                  <a:pt x="11199600" y="3185171"/>
                </a:lnTo>
                <a:lnTo>
                  <a:pt x="11199600" y="3297044"/>
                </a:lnTo>
                <a:lnTo>
                  <a:pt x="11199600" y="3407235"/>
                </a:lnTo>
                <a:lnTo>
                  <a:pt x="11199600" y="3470134"/>
                </a:lnTo>
                <a:lnTo>
                  <a:pt x="11199600" y="3571284"/>
                </a:lnTo>
                <a:lnTo>
                  <a:pt x="11199600" y="3708888"/>
                </a:lnTo>
                <a:lnTo>
                  <a:pt x="11199600" y="3744374"/>
                </a:lnTo>
                <a:lnTo>
                  <a:pt x="11199600" y="3831345"/>
                </a:lnTo>
                <a:lnTo>
                  <a:pt x="11199600" y="3983128"/>
                </a:lnTo>
                <a:lnTo>
                  <a:pt x="11199600" y="4105585"/>
                </a:lnTo>
                <a:lnTo>
                  <a:pt x="11199600" y="4217458"/>
                </a:lnTo>
                <a:lnTo>
                  <a:pt x="11199600" y="4491698"/>
                </a:lnTo>
                <a:lnTo>
                  <a:pt x="11199600" y="4629302"/>
                </a:lnTo>
                <a:lnTo>
                  <a:pt x="11199600" y="4903542"/>
                </a:lnTo>
                <a:cubicBezTo>
                  <a:pt x="11199600" y="4999652"/>
                  <a:pt x="11103603" y="4999652"/>
                  <a:pt x="11103603" y="4999652"/>
                </a:cubicBezTo>
                <a:cubicBezTo>
                  <a:pt x="11103603" y="4999652"/>
                  <a:pt x="11103603" y="4999652"/>
                  <a:pt x="95997" y="4999652"/>
                </a:cubicBezTo>
                <a:cubicBezTo>
                  <a:pt x="0" y="4999652"/>
                  <a:pt x="0" y="4903542"/>
                  <a:pt x="0" y="4903542"/>
                </a:cubicBezTo>
                <a:lnTo>
                  <a:pt x="0" y="4899807"/>
                </a:lnTo>
                <a:lnTo>
                  <a:pt x="0" y="4890936"/>
                </a:lnTo>
                <a:lnTo>
                  <a:pt x="0" y="4873660"/>
                </a:lnTo>
                <a:lnTo>
                  <a:pt x="0" y="4845179"/>
                </a:lnTo>
                <a:lnTo>
                  <a:pt x="0" y="4802691"/>
                </a:lnTo>
                <a:lnTo>
                  <a:pt x="0" y="4743394"/>
                </a:lnTo>
                <a:lnTo>
                  <a:pt x="0" y="4664487"/>
                </a:lnTo>
                <a:lnTo>
                  <a:pt x="0" y="4629302"/>
                </a:lnTo>
                <a:lnTo>
                  <a:pt x="0" y="4628196"/>
                </a:lnTo>
                <a:lnTo>
                  <a:pt x="0" y="4620448"/>
                </a:lnTo>
                <a:lnTo>
                  <a:pt x="0" y="4599605"/>
                </a:lnTo>
                <a:lnTo>
                  <a:pt x="0" y="4599420"/>
                </a:lnTo>
                <a:lnTo>
                  <a:pt x="0" y="4558471"/>
                </a:lnTo>
                <a:lnTo>
                  <a:pt x="0" y="4528451"/>
                </a:lnTo>
                <a:lnTo>
                  <a:pt x="0" y="4523932"/>
                </a:lnTo>
                <a:lnTo>
                  <a:pt x="0" y="4490960"/>
                </a:lnTo>
                <a:lnTo>
                  <a:pt x="0" y="4445169"/>
                </a:lnTo>
                <a:lnTo>
                  <a:pt x="0" y="4436638"/>
                </a:lnTo>
                <a:lnTo>
                  <a:pt x="0" y="4390247"/>
                </a:lnTo>
                <a:lnTo>
                  <a:pt x="0" y="4336893"/>
                </a:lnTo>
                <a:lnTo>
                  <a:pt x="0" y="4325365"/>
                </a:lnTo>
                <a:lnTo>
                  <a:pt x="0" y="4249692"/>
                </a:lnTo>
                <a:lnTo>
                  <a:pt x="0" y="4223868"/>
                </a:lnTo>
                <a:lnTo>
                  <a:pt x="0" y="4162398"/>
                </a:lnTo>
                <a:lnTo>
                  <a:pt x="0" y="4096731"/>
                </a:lnTo>
                <a:lnTo>
                  <a:pt x="0" y="4062653"/>
                </a:lnTo>
                <a:lnTo>
                  <a:pt x="0" y="3983128"/>
                </a:lnTo>
                <a:lnTo>
                  <a:pt x="0" y="3979393"/>
                </a:lnTo>
                <a:lnTo>
                  <a:pt x="0" y="3970522"/>
                </a:lnTo>
                <a:lnTo>
                  <a:pt x="0" y="3954654"/>
                </a:lnTo>
                <a:lnTo>
                  <a:pt x="0" y="3953246"/>
                </a:lnTo>
                <a:lnTo>
                  <a:pt x="0" y="3949628"/>
                </a:lnTo>
                <a:lnTo>
                  <a:pt x="0" y="3924765"/>
                </a:lnTo>
                <a:lnTo>
                  <a:pt x="0" y="3882277"/>
                </a:lnTo>
                <a:lnTo>
                  <a:pt x="0" y="3822980"/>
                </a:lnTo>
                <a:lnTo>
                  <a:pt x="0" y="3822491"/>
                </a:lnTo>
                <a:lnTo>
                  <a:pt x="0" y="3796806"/>
                </a:lnTo>
                <a:lnTo>
                  <a:pt x="0" y="3744073"/>
                </a:lnTo>
                <a:lnTo>
                  <a:pt x="0" y="3708888"/>
                </a:lnTo>
                <a:lnTo>
                  <a:pt x="0" y="3707782"/>
                </a:lnTo>
                <a:lnTo>
                  <a:pt x="0" y="3700034"/>
                </a:lnTo>
                <a:lnTo>
                  <a:pt x="0" y="3680414"/>
                </a:lnTo>
                <a:lnTo>
                  <a:pt x="0" y="3679191"/>
                </a:lnTo>
                <a:lnTo>
                  <a:pt x="0" y="3679006"/>
                </a:lnTo>
                <a:lnTo>
                  <a:pt x="0" y="3638057"/>
                </a:lnTo>
                <a:lnTo>
                  <a:pt x="0" y="3622356"/>
                </a:lnTo>
                <a:lnTo>
                  <a:pt x="0" y="3608037"/>
                </a:lnTo>
                <a:lnTo>
                  <a:pt x="0" y="3603518"/>
                </a:lnTo>
                <a:lnTo>
                  <a:pt x="0" y="3570546"/>
                </a:lnTo>
                <a:lnTo>
                  <a:pt x="0" y="3524755"/>
                </a:lnTo>
                <a:lnTo>
                  <a:pt x="0" y="3522566"/>
                </a:lnTo>
                <a:lnTo>
                  <a:pt x="0" y="3516224"/>
                </a:lnTo>
                <a:lnTo>
                  <a:pt x="0" y="3469833"/>
                </a:lnTo>
                <a:lnTo>
                  <a:pt x="0" y="3430476"/>
                </a:lnTo>
                <a:lnTo>
                  <a:pt x="0" y="3416479"/>
                </a:lnTo>
                <a:lnTo>
                  <a:pt x="0" y="3404951"/>
                </a:lnTo>
                <a:lnTo>
                  <a:pt x="0" y="3348116"/>
                </a:lnTo>
                <a:lnTo>
                  <a:pt x="0" y="3329278"/>
                </a:lnTo>
                <a:lnTo>
                  <a:pt x="0" y="3303454"/>
                </a:lnTo>
                <a:lnTo>
                  <a:pt x="0" y="3241984"/>
                </a:lnTo>
                <a:lnTo>
                  <a:pt x="0" y="3220334"/>
                </a:lnTo>
                <a:lnTo>
                  <a:pt x="0" y="3176317"/>
                </a:lnTo>
                <a:lnTo>
                  <a:pt x="0" y="3156236"/>
                </a:lnTo>
                <a:lnTo>
                  <a:pt x="0" y="3142239"/>
                </a:lnTo>
                <a:lnTo>
                  <a:pt x="0" y="3034240"/>
                </a:lnTo>
                <a:lnTo>
                  <a:pt x="0" y="3029214"/>
                </a:lnTo>
                <a:lnTo>
                  <a:pt x="0" y="2991101"/>
                </a:lnTo>
                <a:lnTo>
                  <a:pt x="0" y="2946094"/>
                </a:lnTo>
                <a:lnTo>
                  <a:pt x="0" y="2902077"/>
                </a:lnTo>
                <a:lnTo>
                  <a:pt x="0" y="2876392"/>
                </a:lnTo>
                <a:lnTo>
                  <a:pt x="0" y="2790282"/>
                </a:lnTo>
                <a:lnTo>
                  <a:pt x="0" y="2787072"/>
                </a:lnTo>
                <a:lnTo>
                  <a:pt x="0" y="2760000"/>
                </a:lnTo>
                <a:lnTo>
                  <a:pt x="0" y="2741948"/>
                </a:lnTo>
                <a:lnTo>
                  <a:pt x="0" y="2741947"/>
                </a:lnTo>
                <a:lnTo>
                  <a:pt x="0" y="2716862"/>
                </a:lnTo>
                <a:lnTo>
                  <a:pt x="0" y="2716861"/>
                </a:lnTo>
                <a:lnTo>
                  <a:pt x="0" y="2701942"/>
                </a:lnTo>
                <a:lnTo>
                  <a:pt x="0" y="2602152"/>
                </a:lnTo>
                <a:lnTo>
                  <a:pt x="0" y="2512832"/>
                </a:lnTo>
                <a:lnTo>
                  <a:pt x="0" y="2510062"/>
                </a:lnTo>
                <a:lnTo>
                  <a:pt x="0" y="2472043"/>
                </a:lnTo>
                <a:lnTo>
                  <a:pt x="0" y="2472042"/>
                </a:lnTo>
                <a:lnTo>
                  <a:pt x="0" y="2467708"/>
                </a:lnTo>
                <a:lnTo>
                  <a:pt x="0" y="2467707"/>
                </a:lnTo>
                <a:lnTo>
                  <a:pt x="0" y="2449933"/>
                </a:lnTo>
                <a:lnTo>
                  <a:pt x="0" y="2427702"/>
                </a:lnTo>
                <a:lnTo>
                  <a:pt x="0" y="2299920"/>
                </a:lnTo>
                <a:lnTo>
                  <a:pt x="0" y="2235822"/>
                </a:lnTo>
                <a:lnTo>
                  <a:pt x="0" y="2197803"/>
                </a:lnTo>
                <a:lnTo>
                  <a:pt x="0" y="2197802"/>
                </a:lnTo>
                <a:lnTo>
                  <a:pt x="0" y="2180556"/>
                </a:lnTo>
                <a:lnTo>
                  <a:pt x="0" y="2180555"/>
                </a:lnTo>
                <a:lnTo>
                  <a:pt x="0" y="2175692"/>
                </a:lnTo>
                <a:lnTo>
                  <a:pt x="0" y="2088721"/>
                </a:lnTo>
                <a:lnTo>
                  <a:pt x="0" y="2070687"/>
                </a:lnTo>
                <a:lnTo>
                  <a:pt x="0" y="2025680"/>
                </a:lnTo>
                <a:lnTo>
                  <a:pt x="0" y="1906316"/>
                </a:lnTo>
                <a:lnTo>
                  <a:pt x="0" y="1906315"/>
                </a:lnTo>
                <a:lnTo>
                  <a:pt x="0" y="1866658"/>
                </a:lnTo>
                <a:lnTo>
                  <a:pt x="0" y="1866657"/>
                </a:lnTo>
                <a:lnTo>
                  <a:pt x="0" y="1821533"/>
                </a:lnTo>
                <a:lnTo>
                  <a:pt x="0" y="1814481"/>
                </a:lnTo>
                <a:lnTo>
                  <a:pt x="0" y="1796447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92417"/>
                </a:lnTo>
                <a:lnTo>
                  <a:pt x="0" y="1551628"/>
                </a:lnTo>
                <a:lnTo>
                  <a:pt x="0" y="1547293"/>
                </a:lnTo>
                <a:lnTo>
                  <a:pt x="0" y="1529519"/>
                </a:lnTo>
                <a:lnTo>
                  <a:pt x="0" y="1529518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77388"/>
                </a:lnTo>
                <a:lnTo>
                  <a:pt x="0" y="1260141"/>
                </a:lnTo>
                <a:lnTo>
                  <a:pt x="0" y="1255278"/>
                </a:lnTo>
                <a:lnTo>
                  <a:pt x="0" y="1255277"/>
                </a:lnTo>
                <a:lnTo>
                  <a:pt x="0" y="1208224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06594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0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795639"/>
            <a:ext cx="8522455" cy="44051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30" y="1277985"/>
            <a:ext cx="852245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9998665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 bwMode="gray">
          <a:xfrm>
            <a:off x="566241" y="280736"/>
            <a:ext cx="9099675" cy="5920067"/>
          </a:xfrm>
          <a:custGeom>
            <a:avLst/>
            <a:gdLst>
              <a:gd name="connsiteX0" fmla="*/ 95997 w 11199600"/>
              <a:gd name="connsiteY0" fmla="*/ 0 h 5920067"/>
              <a:gd name="connsiteX1" fmla="*/ 11103603 w 11199600"/>
              <a:gd name="connsiteY1" fmla="*/ 0 h 5920067"/>
              <a:gd name="connsiteX2" fmla="*/ 11199600 w 11199600"/>
              <a:gd name="connsiteY2" fmla="*/ 96110 h 5920067"/>
              <a:gd name="connsiteX3" fmla="*/ 11199600 w 11199600"/>
              <a:gd name="connsiteY3" fmla="*/ 335165 h 5920067"/>
              <a:gd name="connsiteX4" fmla="*/ 11199600 w 11199600"/>
              <a:gd name="connsiteY4" fmla="*/ 370350 h 5920067"/>
              <a:gd name="connsiteX5" fmla="*/ 11199600 w 11199600"/>
              <a:gd name="connsiteY5" fmla="*/ 379204 h 5920067"/>
              <a:gd name="connsiteX6" fmla="*/ 11199600 w 11199600"/>
              <a:gd name="connsiteY6" fmla="*/ 400048 h 5920067"/>
              <a:gd name="connsiteX7" fmla="*/ 11199600 w 11199600"/>
              <a:gd name="connsiteY7" fmla="*/ 400232 h 5920067"/>
              <a:gd name="connsiteX8" fmla="*/ 11199600 w 11199600"/>
              <a:gd name="connsiteY8" fmla="*/ 471202 h 5920067"/>
              <a:gd name="connsiteX9" fmla="*/ 11199600 w 11199600"/>
              <a:gd name="connsiteY9" fmla="*/ 475721 h 5920067"/>
              <a:gd name="connsiteX10" fmla="*/ 11199600 w 11199600"/>
              <a:gd name="connsiteY10" fmla="*/ 508692 h 5920067"/>
              <a:gd name="connsiteX11" fmla="*/ 11199600 w 11199600"/>
              <a:gd name="connsiteY11" fmla="*/ 554484 h 5920067"/>
              <a:gd name="connsiteX12" fmla="*/ 11199600 w 11199600"/>
              <a:gd name="connsiteY12" fmla="*/ 563015 h 5920067"/>
              <a:gd name="connsiteX13" fmla="*/ 11199600 w 11199600"/>
              <a:gd name="connsiteY13" fmla="*/ 609405 h 5920067"/>
              <a:gd name="connsiteX14" fmla="*/ 11199600 w 11199600"/>
              <a:gd name="connsiteY14" fmla="*/ 662759 h 5920067"/>
              <a:gd name="connsiteX15" fmla="*/ 11199600 w 11199600"/>
              <a:gd name="connsiteY15" fmla="*/ 674288 h 5920067"/>
              <a:gd name="connsiteX16" fmla="*/ 11199600 w 11199600"/>
              <a:gd name="connsiteY16" fmla="*/ 749961 h 5920067"/>
              <a:gd name="connsiteX17" fmla="*/ 11199600 w 11199600"/>
              <a:gd name="connsiteY17" fmla="*/ 775785 h 5920067"/>
              <a:gd name="connsiteX18" fmla="*/ 11199600 w 11199600"/>
              <a:gd name="connsiteY18" fmla="*/ 837255 h 5920067"/>
              <a:gd name="connsiteX19" fmla="*/ 11199600 w 11199600"/>
              <a:gd name="connsiteY19" fmla="*/ 902921 h 5920067"/>
              <a:gd name="connsiteX20" fmla="*/ 11199600 w 11199600"/>
              <a:gd name="connsiteY20" fmla="*/ 936999 h 5920067"/>
              <a:gd name="connsiteX21" fmla="*/ 11199600 w 11199600"/>
              <a:gd name="connsiteY21" fmla="*/ 1016524 h 5920067"/>
              <a:gd name="connsiteX22" fmla="*/ 11199600 w 11199600"/>
              <a:gd name="connsiteY22" fmla="*/ 1029131 h 5920067"/>
              <a:gd name="connsiteX23" fmla="*/ 11199600 w 11199600"/>
              <a:gd name="connsiteY23" fmla="*/ 1044999 h 5920067"/>
              <a:gd name="connsiteX24" fmla="*/ 11199600 w 11199600"/>
              <a:gd name="connsiteY24" fmla="*/ 1046406 h 5920067"/>
              <a:gd name="connsiteX25" fmla="*/ 11199600 w 11199600"/>
              <a:gd name="connsiteY25" fmla="*/ 1050025 h 5920067"/>
              <a:gd name="connsiteX26" fmla="*/ 11199600 w 11199600"/>
              <a:gd name="connsiteY26" fmla="*/ 1074887 h 5920067"/>
              <a:gd name="connsiteX27" fmla="*/ 11199600 w 11199600"/>
              <a:gd name="connsiteY27" fmla="*/ 1176672 h 5920067"/>
              <a:gd name="connsiteX28" fmla="*/ 11199600 w 11199600"/>
              <a:gd name="connsiteY28" fmla="*/ 1177161 h 5920067"/>
              <a:gd name="connsiteX29" fmla="*/ 11199600 w 11199600"/>
              <a:gd name="connsiteY29" fmla="*/ 1202847 h 5920067"/>
              <a:gd name="connsiteX30" fmla="*/ 11199600 w 11199600"/>
              <a:gd name="connsiteY30" fmla="*/ 1255579 h 5920067"/>
              <a:gd name="connsiteX31" fmla="*/ 11199600 w 11199600"/>
              <a:gd name="connsiteY31" fmla="*/ 1290764 h 5920067"/>
              <a:gd name="connsiteX32" fmla="*/ 11199600 w 11199600"/>
              <a:gd name="connsiteY32" fmla="*/ 1299618 h 5920067"/>
              <a:gd name="connsiteX33" fmla="*/ 11199600 w 11199600"/>
              <a:gd name="connsiteY33" fmla="*/ 1319239 h 5920067"/>
              <a:gd name="connsiteX34" fmla="*/ 11199600 w 11199600"/>
              <a:gd name="connsiteY34" fmla="*/ 1320462 h 5920067"/>
              <a:gd name="connsiteX35" fmla="*/ 11199600 w 11199600"/>
              <a:gd name="connsiteY35" fmla="*/ 1320646 h 5920067"/>
              <a:gd name="connsiteX36" fmla="*/ 11199600 w 11199600"/>
              <a:gd name="connsiteY36" fmla="*/ 1349128 h 5920067"/>
              <a:gd name="connsiteX37" fmla="*/ 11199600 w 11199600"/>
              <a:gd name="connsiteY37" fmla="*/ 1377296 h 5920067"/>
              <a:gd name="connsiteX38" fmla="*/ 11199600 w 11199600"/>
              <a:gd name="connsiteY38" fmla="*/ 1391616 h 5920067"/>
              <a:gd name="connsiteX39" fmla="*/ 11199600 w 11199600"/>
              <a:gd name="connsiteY39" fmla="*/ 1396135 h 5920067"/>
              <a:gd name="connsiteX40" fmla="*/ 11199600 w 11199600"/>
              <a:gd name="connsiteY40" fmla="*/ 1429106 h 5920067"/>
              <a:gd name="connsiteX41" fmla="*/ 11199600 w 11199600"/>
              <a:gd name="connsiteY41" fmla="*/ 1474898 h 5920067"/>
              <a:gd name="connsiteX42" fmla="*/ 11199600 w 11199600"/>
              <a:gd name="connsiteY42" fmla="*/ 1477087 h 5920067"/>
              <a:gd name="connsiteX43" fmla="*/ 11199600 w 11199600"/>
              <a:gd name="connsiteY43" fmla="*/ 1483429 h 5920067"/>
              <a:gd name="connsiteX44" fmla="*/ 11199600 w 11199600"/>
              <a:gd name="connsiteY44" fmla="*/ 1529819 h 5920067"/>
              <a:gd name="connsiteX45" fmla="*/ 11199600 w 11199600"/>
              <a:gd name="connsiteY45" fmla="*/ 1569177 h 5920067"/>
              <a:gd name="connsiteX46" fmla="*/ 11199600 w 11199600"/>
              <a:gd name="connsiteY46" fmla="*/ 1583173 h 5920067"/>
              <a:gd name="connsiteX47" fmla="*/ 11199600 w 11199600"/>
              <a:gd name="connsiteY47" fmla="*/ 1594702 h 5920067"/>
              <a:gd name="connsiteX48" fmla="*/ 11199600 w 11199600"/>
              <a:gd name="connsiteY48" fmla="*/ 1651536 h 5920067"/>
              <a:gd name="connsiteX49" fmla="*/ 11199600 w 11199600"/>
              <a:gd name="connsiteY49" fmla="*/ 1670375 h 5920067"/>
              <a:gd name="connsiteX50" fmla="*/ 11199600 w 11199600"/>
              <a:gd name="connsiteY50" fmla="*/ 1696199 h 5920067"/>
              <a:gd name="connsiteX51" fmla="*/ 11199600 w 11199600"/>
              <a:gd name="connsiteY51" fmla="*/ 1757669 h 5920067"/>
              <a:gd name="connsiteX52" fmla="*/ 11199600 w 11199600"/>
              <a:gd name="connsiteY52" fmla="*/ 1779318 h 5920067"/>
              <a:gd name="connsiteX53" fmla="*/ 11199600 w 11199600"/>
              <a:gd name="connsiteY53" fmla="*/ 1823335 h 5920067"/>
              <a:gd name="connsiteX54" fmla="*/ 11199600 w 11199600"/>
              <a:gd name="connsiteY54" fmla="*/ 1843417 h 5920067"/>
              <a:gd name="connsiteX55" fmla="*/ 11199600 w 11199600"/>
              <a:gd name="connsiteY55" fmla="*/ 1857413 h 5920067"/>
              <a:gd name="connsiteX56" fmla="*/ 11199600 w 11199600"/>
              <a:gd name="connsiteY56" fmla="*/ 1965413 h 5920067"/>
              <a:gd name="connsiteX57" fmla="*/ 11199600 w 11199600"/>
              <a:gd name="connsiteY57" fmla="*/ 1970439 h 5920067"/>
              <a:gd name="connsiteX58" fmla="*/ 11199600 w 11199600"/>
              <a:gd name="connsiteY58" fmla="*/ 2008551 h 5920067"/>
              <a:gd name="connsiteX59" fmla="*/ 11199600 w 11199600"/>
              <a:gd name="connsiteY59" fmla="*/ 2053558 h 5920067"/>
              <a:gd name="connsiteX60" fmla="*/ 11199600 w 11199600"/>
              <a:gd name="connsiteY60" fmla="*/ 2097575 h 5920067"/>
              <a:gd name="connsiteX61" fmla="*/ 11199600 w 11199600"/>
              <a:gd name="connsiteY61" fmla="*/ 2123261 h 5920067"/>
              <a:gd name="connsiteX62" fmla="*/ 11199600 w 11199600"/>
              <a:gd name="connsiteY62" fmla="*/ 2239653 h 5920067"/>
              <a:gd name="connsiteX63" fmla="*/ 11199600 w 11199600"/>
              <a:gd name="connsiteY63" fmla="*/ 2257705 h 5920067"/>
              <a:gd name="connsiteX64" fmla="*/ 11199600 w 11199600"/>
              <a:gd name="connsiteY64" fmla="*/ 2282791 h 5920067"/>
              <a:gd name="connsiteX65" fmla="*/ 11199600 w 11199600"/>
              <a:gd name="connsiteY65" fmla="*/ 2297710 h 5920067"/>
              <a:gd name="connsiteX66" fmla="*/ 11199600 w 11199600"/>
              <a:gd name="connsiteY66" fmla="*/ 2397501 h 5920067"/>
              <a:gd name="connsiteX67" fmla="*/ 11199600 w 11199600"/>
              <a:gd name="connsiteY67" fmla="*/ 2489591 h 5920067"/>
              <a:gd name="connsiteX68" fmla="*/ 11199600 w 11199600"/>
              <a:gd name="connsiteY68" fmla="*/ 2527610 h 5920067"/>
              <a:gd name="connsiteX69" fmla="*/ 11199600 w 11199600"/>
              <a:gd name="connsiteY69" fmla="*/ 2531945 h 5920067"/>
              <a:gd name="connsiteX70" fmla="*/ 11199600 w 11199600"/>
              <a:gd name="connsiteY70" fmla="*/ 2571950 h 5920067"/>
              <a:gd name="connsiteX71" fmla="*/ 11199600 w 11199600"/>
              <a:gd name="connsiteY71" fmla="*/ 2699732 h 5920067"/>
              <a:gd name="connsiteX72" fmla="*/ 11199600 w 11199600"/>
              <a:gd name="connsiteY72" fmla="*/ 2763831 h 5920067"/>
              <a:gd name="connsiteX73" fmla="*/ 11199600 w 11199600"/>
              <a:gd name="connsiteY73" fmla="*/ 2801851 h 5920067"/>
              <a:gd name="connsiteX74" fmla="*/ 11199600 w 11199600"/>
              <a:gd name="connsiteY74" fmla="*/ 2819097 h 5920067"/>
              <a:gd name="connsiteX75" fmla="*/ 11199600 w 11199600"/>
              <a:gd name="connsiteY75" fmla="*/ 2928965 h 5920067"/>
              <a:gd name="connsiteX76" fmla="*/ 11199600 w 11199600"/>
              <a:gd name="connsiteY76" fmla="*/ 2973972 h 5920067"/>
              <a:gd name="connsiteX77" fmla="*/ 11199600 w 11199600"/>
              <a:gd name="connsiteY77" fmla="*/ 3093337 h 5920067"/>
              <a:gd name="connsiteX78" fmla="*/ 11199600 w 11199600"/>
              <a:gd name="connsiteY78" fmla="*/ 3132995 h 5920067"/>
              <a:gd name="connsiteX79" fmla="*/ 11199600 w 11199600"/>
              <a:gd name="connsiteY79" fmla="*/ 3178119 h 5920067"/>
              <a:gd name="connsiteX80" fmla="*/ 11199600 w 11199600"/>
              <a:gd name="connsiteY80" fmla="*/ 3203205 h 5920067"/>
              <a:gd name="connsiteX81" fmla="*/ 11199600 w 11199600"/>
              <a:gd name="connsiteY81" fmla="*/ 3407236 h 5920067"/>
              <a:gd name="connsiteX82" fmla="*/ 11199600 w 11199600"/>
              <a:gd name="connsiteY82" fmla="*/ 3448024 h 5920067"/>
              <a:gd name="connsiteX83" fmla="*/ 11199600 w 11199600"/>
              <a:gd name="connsiteY83" fmla="*/ 3452359 h 5920067"/>
              <a:gd name="connsiteX84" fmla="*/ 11199600 w 11199600"/>
              <a:gd name="connsiteY84" fmla="*/ 3470135 h 5920067"/>
              <a:gd name="connsiteX85" fmla="*/ 11199600 w 11199600"/>
              <a:gd name="connsiteY85" fmla="*/ 3722265 h 5920067"/>
              <a:gd name="connsiteX86" fmla="*/ 11199600 w 11199600"/>
              <a:gd name="connsiteY86" fmla="*/ 3739511 h 5920067"/>
              <a:gd name="connsiteX87" fmla="*/ 11199600 w 11199600"/>
              <a:gd name="connsiteY87" fmla="*/ 3744375 h 5920067"/>
              <a:gd name="connsiteX88" fmla="*/ 11199600 w 11199600"/>
              <a:gd name="connsiteY88" fmla="*/ 3831346 h 5920067"/>
              <a:gd name="connsiteX89" fmla="*/ 11199600 w 11199600"/>
              <a:gd name="connsiteY89" fmla="*/ 4013751 h 5920067"/>
              <a:gd name="connsiteX90" fmla="*/ 11199600 w 11199600"/>
              <a:gd name="connsiteY90" fmla="*/ 4053409 h 5920067"/>
              <a:gd name="connsiteX91" fmla="*/ 11199600 w 11199600"/>
              <a:gd name="connsiteY91" fmla="*/ 4105586 h 5920067"/>
              <a:gd name="connsiteX92" fmla="*/ 11199600 w 11199600"/>
              <a:gd name="connsiteY92" fmla="*/ 4217459 h 5920067"/>
              <a:gd name="connsiteX93" fmla="*/ 11199600 w 11199600"/>
              <a:gd name="connsiteY93" fmla="*/ 4327650 h 5920067"/>
              <a:gd name="connsiteX94" fmla="*/ 11199600 w 11199600"/>
              <a:gd name="connsiteY94" fmla="*/ 4390549 h 5920067"/>
              <a:gd name="connsiteX95" fmla="*/ 11199600 w 11199600"/>
              <a:gd name="connsiteY95" fmla="*/ 4491699 h 5920067"/>
              <a:gd name="connsiteX96" fmla="*/ 11199600 w 11199600"/>
              <a:gd name="connsiteY96" fmla="*/ 4629303 h 5920067"/>
              <a:gd name="connsiteX97" fmla="*/ 11199600 w 11199600"/>
              <a:gd name="connsiteY97" fmla="*/ 4664789 h 5920067"/>
              <a:gd name="connsiteX98" fmla="*/ 11199600 w 11199600"/>
              <a:gd name="connsiteY98" fmla="*/ 4751760 h 5920067"/>
              <a:gd name="connsiteX99" fmla="*/ 11199600 w 11199600"/>
              <a:gd name="connsiteY99" fmla="*/ 4903543 h 5920067"/>
              <a:gd name="connsiteX100" fmla="*/ 11199600 w 11199600"/>
              <a:gd name="connsiteY100" fmla="*/ 5026000 h 5920067"/>
              <a:gd name="connsiteX101" fmla="*/ 11199600 w 11199600"/>
              <a:gd name="connsiteY101" fmla="*/ 5137873 h 5920067"/>
              <a:gd name="connsiteX102" fmla="*/ 11199600 w 11199600"/>
              <a:gd name="connsiteY102" fmla="*/ 5412113 h 5920067"/>
              <a:gd name="connsiteX103" fmla="*/ 11199600 w 11199600"/>
              <a:gd name="connsiteY103" fmla="*/ 5549717 h 5920067"/>
              <a:gd name="connsiteX104" fmla="*/ 11199600 w 11199600"/>
              <a:gd name="connsiteY104" fmla="*/ 5823957 h 5920067"/>
              <a:gd name="connsiteX105" fmla="*/ 11103603 w 11199600"/>
              <a:gd name="connsiteY105" fmla="*/ 5920067 h 5920067"/>
              <a:gd name="connsiteX106" fmla="*/ 95997 w 11199600"/>
              <a:gd name="connsiteY106" fmla="*/ 5920067 h 5920067"/>
              <a:gd name="connsiteX107" fmla="*/ 0 w 11199600"/>
              <a:gd name="connsiteY107" fmla="*/ 5823957 h 5920067"/>
              <a:gd name="connsiteX108" fmla="*/ 0 w 11199600"/>
              <a:gd name="connsiteY108" fmla="*/ 5820222 h 5920067"/>
              <a:gd name="connsiteX109" fmla="*/ 0 w 11199600"/>
              <a:gd name="connsiteY109" fmla="*/ 5811351 h 5920067"/>
              <a:gd name="connsiteX110" fmla="*/ 0 w 11199600"/>
              <a:gd name="connsiteY110" fmla="*/ 5794075 h 5920067"/>
              <a:gd name="connsiteX111" fmla="*/ 0 w 11199600"/>
              <a:gd name="connsiteY111" fmla="*/ 5765594 h 5920067"/>
              <a:gd name="connsiteX112" fmla="*/ 0 w 11199600"/>
              <a:gd name="connsiteY112" fmla="*/ 5723106 h 5920067"/>
              <a:gd name="connsiteX113" fmla="*/ 0 w 11199600"/>
              <a:gd name="connsiteY113" fmla="*/ 5663809 h 5920067"/>
              <a:gd name="connsiteX114" fmla="*/ 0 w 11199600"/>
              <a:gd name="connsiteY114" fmla="*/ 5584902 h 5920067"/>
              <a:gd name="connsiteX115" fmla="*/ 0 w 11199600"/>
              <a:gd name="connsiteY115" fmla="*/ 5549717 h 5920067"/>
              <a:gd name="connsiteX116" fmla="*/ 0 w 11199600"/>
              <a:gd name="connsiteY116" fmla="*/ 5548611 h 5920067"/>
              <a:gd name="connsiteX117" fmla="*/ 0 w 11199600"/>
              <a:gd name="connsiteY117" fmla="*/ 5540863 h 5920067"/>
              <a:gd name="connsiteX118" fmla="*/ 0 w 11199600"/>
              <a:gd name="connsiteY118" fmla="*/ 5520020 h 5920067"/>
              <a:gd name="connsiteX119" fmla="*/ 0 w 11199600"/>
              <a:gd name="connsiteY119" fmla="*/ 5519835 h 5920067"/>
              <a:gd name="connsiteX120" fmla="*/ 0 w 11199600"/>
              <a:gd name="connsiteY120" fmla="*/ 5478886 h 5920067"/>
              <a:gd name="connsiteX121" fmla="*/ 0 w 11199600"/>
              <a:gd name="connsiteY121" fmla="*/ 5448866 h 5920067"/>
              <a:gd name="connsiteX122" fmla="*/ 0 w 11199600"/>
              <a:gd name="connsiteY122" fmla="*/ 5444347 h 5920067"/>
              <a:gd name="connsiteX123" fmla="*/ 0 w 11199600"/>
              <a:gd name="connsiteY123" fmla="*/ 5411375 h 5920067"/>
              <a:gd name="connsiteX124" fmla="*/ 0 w 11199600"/>
              <a:gd name="connsiteY124" fmla="*/ 5365584 h 5920067"/>
              <a:gd name="connsiteX125" fmla="*/ 0 w 11199600"/>
              <a:gd name="connsiteY125" fmla="*/ 5357053 h 5920067"/>
              <a:gd name="connsiteX126" fmla="*/ 0 w 11199600"/>
              <a:gd name="connsiteY126" fmla="*/ 5310662 h 5920067"/>
              <a:gd name="connsiteX127" fmla="*/ 0 w 11199600"/>
              <a:gd name="connsiteY127" fmla="*/ 5257308 h 5920067"/>
              <a:gd name="connsiteX128" fmla="*/ 0 w 11199600"/>
              <a:gd name="connsiteY128" fmla="*/ 5245780 h 5920067"/>
              <a:gd name="connsiteX129" fmla="*/ 0 w 11199600"/>
              <a:gd name="connsiteY129" fmla="*/ 5170107 h 5920067"/>
              <a:gd name="connsiteX130" fmla="*/ 0 w 11199600"/>
              <a:gd name="connsiteY130" fmla="*/ 5144283 h 5920067"/>
              <a:gd name="connsiteX131" fmla="*/ 0 w 11199600"/>
              <a:gd name="connsiteY131" fmla="*/ 5082813 h 5920067"/>
              <a:gd name="connsiteX132" fmla="*/ 0 w 11199600"/>
              <a:gd name="connsiteY132" fmla="*/ 5017146 h 5920067"/>
              <a:gd name="connsiteX133" fmla="*/ 0 w 11199600"/>
              <a:gd name="connsiteY133" fmla="*/ 4983068 h 5920067"/>
              <a:gd name="connsiteX134" fmla="*/ 0 w 11199600"/>
              <a:gd name="connsiteY134" fmla="*/ 4903543 h 5920067"/>
              <a:gd name="connsiteX135" fmla="*/ 0 w 11199600"/>
              <a:gd name="connsiteY135" fmla="*/ 4899808 h 5920067"/>
              <a:gd name="connsiteX136" fmla="*/ 0 w 11199600"/>
              <a:gd name="connsiteY136" fmla="*/ 4890937 h 5920067"/>
              <a:gd name="connsiteX137" fmla="*/ 0 w 11199600"/>
              <a:gd name="connsiteY137" fmla="*/ 4875069 h 5920067"/>
              <a:gd name="connsiteX138" fmla="*/ 0 w 11199600"/>
              <a:gd name="connsiteY138" fmla="*/ 4873661 h 5920067"/>
              <a:gd name="connsiteX139" fmla="*/ 0 w 11199600"/>
              <a:gd name="connsiteY139" fmla="*/ 4870043 h 5920067"/>
              <a:gd name="connsiteX140" fmla="*/ 0 w 11199600"/>
              <a:gd name="connsiteY140" fmla="*/ 4845180 h 5920067"/>
              <a:gd name="connsiteX141" fmla="*/ 0 w 11199600"/>
              <a:gd name="connsiteY141" fmla="*/ 4802692 h 5920067"/>
              <a:gd name="connsiteX142" fmla="*/ 0 w 11199600"/>
              <a:gd name="connsiteY142" fmla="*/ 4743395 h 5920067"/>
              <a:gd name="connsiteX143" fmla="*/ 0 w 11199600"/>
              <a:gd name="connsiteY143" fmla="*/ 4742906 h 5920067"/>
              <a:gd name="connsiteX144" fmla="*/ 0 w 11199600"/>
              <a:gd name="connsiteY144" fmla="*/ 4717221 h 5920067"/>
              <a:gd name="connsiteX145" fmla="*/ 0 w 11199600"/>
              <a:gd name="connsiteY145" fmla="*/ 4664488 h 5920067"/>
              <a:gd name="connsiteX146" fmla="*/ 0 w 11199600"/>
              <a:gd name="connsiteY146" fmla="*/ 4629303 h 5920067"/>
              <a:gd name="connsiteX147" fmla="*/ 0 w 11199600"/>
              <a:gd name="connsiteY147" fmla="*/ 4628197 h 5920067"/>
              <a:gd name="connsiteX148" fmla="*/ 0 w 11199600"/>
              <a:gd name="connsiteY148" fmla="*/ 4620449 h 5920067"/>
              <a:gd name="connsiteX149" fmla="*/ 0 w 11199600"/>
              <a:gd name="connsiteY149" fmla="*/ 4600829 h 5920067"/>
              <a:gd name="connsiteX150" fmla="*/ 0 w 11199600"/>
              <a:gd name="connsiteY150" fmla="*/ 4599606 h 5920067"/>
              <a:gd name="connsiteX151" fmla="*/ 0 w 11199600"/>
              <a:gd name="connsiteY151" fmla="*/ 4599421 h 5920067"/>
              <a:gd name="connsiteX152" fmla="*/ 0 w 11199600"/>
              <a:gd name="connsiteY152" fmla="*/ 4558472 h 5920067"/>
              <a:gd name="connsiteX153" fmla="*/ 0 w 11199600"/>
              <a:gd name="connsiteY153" fmla="*/ 4542771 h 5920067"/>
              <a:gd name="connsiteX154" fmla="*/ 0 w 11199600"/>
              <a:gd name="connsiteY154" fmla="*/ 4528452 h 5920067"/>
              <a:gd name="connsiteX155" fmla="*/ 0 w 11199600"/>
              <a:gd name="connsiteY155" fmla="*/ 4523933 h 5920067"/>
              <a:gd name="connsiteX156" fmla="*/ 0 w 11199600"/>
              <a:gd name="connsiteY156" fmla="*/ 4490961 h 5920067"/>
              <a:gd name="connsiteX157" fmla="*/ 0 w 11199600"/>
              <a:gd name="connsiteY157" fmla="*/ 4445170 h 5920067"/>
              <a:gd name="connsiteX158" fmla="*/ 0 w 11199600"/>
              <a:gd name="connsiteY158" fmla="*/ 4442981 h 5920067"/>
              <a:gd name="connsiteX159" fmla="*/ 0 w 11199600"/>
              <a:gd name="connsiteY159" fmla="*/ 4436639 h 5920067"/>
              <a:gd name="connsiteX160" fmla="*/ 0 w 11199600"/>
              <a:gd name="connsiteY160" fmla="*/ 4390248 h 5920067"/>
              <a:gd name="connsiteX161" fmla="*/ 0 w 11199600"/>
              <a:gd name="connsiteY161" fmla="*/ 4350891 h 5920067"/>
              <a:gd name="connsiteX162" fmla="*/ 0 w 11199600"/>
              <a:gd name="connsiteY162" fmla="*/ 4336894 h 5920067"/>
              <a:gd name="connsiteX163" fmla="*/ 0 w 11199600"/>
              <a:gd name="connsiteY163" fmla="*/ 4325366 h 5920067"/>
              <a:gd name="connsiteX164" fmla="*/ 0 w 11199600"/>
              <a:gd name="connsiteY164" fmla="*/ 4268531 h 5920067"/>
              <a:gd name="connsiteX165" fmla="*/ 0 w 11199600"/>
              <a:gd name="connsiteY165" fmla="*/ 4249693 h 5920067"/>
              <a:gd name="connsiteX166" fmla="*/ 0 w 11199600"/>
              <a:gd name="connsiteY166" fmla="*/ 4223869 h 5920067"/>
              <a:gd name="connsiteX167" fmla="*/ 0 w 11199600"/>
              <a:gd name="connsiteY167" fmla="*/ 4162399 h 5920067"/>
              <a:gd name="connsiteX168" fmla="*/ 0 w 11199600"/>
              <a:gd name="connsiteY168" fmla="*/ 4140749 h 5920067"/>
              <a:gd name="connsiteX169" fmla="*/ 0 w 11199600"/>
              <a:gd name="connsiteY169" fmla="*/ 4096732 h 5920067"/>
              <a:gd name="connsiteX170" fmla="*/ 0 w 11199600"/>
              <a:gd name="connsiteY170" fmla="*/ 4076651 h 5920067"/>
              <a:gd name="connsiteX171" fmla="*/ 0 w 11199600"/>
              <a:gd name="connsiteY171" fmla="*/ 4062654 h 5920067"/>
              <a:gd name="connsiteX172" fmla="*/ 0 w 11199600"/>
              <a:gd name="connsiteY172" fmla="*/ 3954655 h 5920067"/>
              <a:gd name="connsiteX173" fmla="*/ 0 w 11199600"/>
              <a:gd name="connsiteY173" fmla="*/ 3949629 h 5920067"/>
              <a:gd name="connsiteX174" fmla="*/ 0 w 11199600"/>
              <a:gd name="connsiteY174" fmla="*/ 3911516 h 5920067"/>
              <a:gd name="connsiteX175" fmla="*/ 0 w 11199600"/>
              <a:gd name="connsiteY175" fmla="*/ 3866509 h 5920067"/>
              <a:gd name="connsiteX176" fmla="*/ 0 w 11199600"/>
              <a:gd name="connsiteY176" fmla="*/ 3822492 h 5920067"/>
              <a:gd name="connsiteX177" fmla="*/ 0 w 11199600"/>
              <a:gd name="connsiteY177" fmla="*/ 3796807 h 5920067"/>
              <a:gd name="connsiteX178" fmla="*/ 0 w 11199600"/>
              <a:gd name="connsiteY178" fmla="*/ 3680415 h 5920067"/>
              <a:gd name="connsiteX179" fmla="*/ 0 w 11199600"/>
              <a:gd name="connsiteY179" fmla="*/ 3662362 h 5920067"/>
              <a:gd name="connsiteX180" fmla="*/ 0 w 11199600"/>
              <a:gd name="connsiteY180" fmla="*/ 3637276 h 5920067"/>
              <a:gd name="connsiteX181" fmla="*/ 0 w 11199600"/>
              <a:gd name="connsiteY181" fmla="*/ 3622357 h 5920067"/>
              <a:gd name="connsiteX182" fmla="*/ 0 w 11199600"/>
              <a:gd name="connsiteY182" fmla="*/ 3522567 h 5920067"/>
              <a:gd name="connsiteX183" fmla="*/ 0 w 11199600"/>
              <a:gd name="connsiteY183" fmla="*/ 3430477 h 5920067"/>
              <a:gd name="connsiteX184" fmla="*/ 0 w 11199600"/>
              <a:gd name="connsiteY184" fmla="*/ 3392457 h 5920067"/>
              <a:gd name="connsiteX185" fmla="*/ 0 w 11199600"/>
              <a:gd name="connsiteY185" fmla="*/ 3388122 h 5920067"/>
              <a:gd name="connsiteX186" fmla="*/ 0 w 11199600"/>
              <a:gd name="connsiteY186" fmla="*/ 3348117 h 5920067"/>
              <a:gd name="connsiteX187" fmla="*/ 0 w 11199600"/>
              <a:gd name="connsiteY187" fmla="*/ 3220335 h 5920067"/>
              <a:gd name="connsiteX188" fmla="*/ 0 w 11199600"/>
              <a:gd name="connsiteY188" fmla="*/ 3156237 h 5920067"/>
              <a:gd name="connsiteX189" fmla="*/ 0 w 11199600"/>
              <a:gd name="connsiteY189" fmla="*/ 3118217 h 5920067"/>
              <a:gd name="connsiteX190" fmla="*/ 0 w 11199600"/>
              <a:gd name="connsiteY190" fmla="*/ 3100970 h 5920067"/>
              <a:gd name="connsiteX191" fmla="*/ 0 w 11199600"/>
              <a:gd name="connsiteY191" fmla="*/ 2991102 h 5920067"/>
              <a:gd name="connsiteX192" fmla="*/ 0 w 11199600"/>
              <a:gd name="connsiteY192" fmla="*/ 2946095 h 5920067"/>
              <a:gd name="connsiteX193" fmla="*/ 0 w 11199600"/>
              <a:gd name="connsiteY193" fmla="*/ 2826730 h 5920067"/>
              <a:gd name="connsiteX194" fmla="*/ 0 w 11199600"/>
              <a:gd name="connsiteY194" fmla="*/ 2787072 h 5920067"/>
              <a:gd name="connsiteX195" fmla="*/ 0 w 11199600"/>
              <a:gd name="connsiteY195" fmla="*/ 2741948 h 5920067"/>
              <a:gd name="connsiteX196" fmla="*/ 0 w 11199600"/>
              <a:gd name="connsiteY196" fmla="*/ 2716862 h 5920067"/>
              <a:gd name="connsiteX197" fmla="*/ 0 w 11199600"/>
              <a:gd name="connsiteY197" fmla="*/ 2512832 h 5920067"/>
              <a:gd name="connsiteX198" fmla="*/ 0 w 11199600"/>
              <a:gd name="connsiteY198" fmla="*/ 2472043 h 5920067"/>
              <a:gd name="connsiteX199" fmla="*/ 0 w 11199600"/>
              <a:gd name="connsiteY199" fmla="*/ 2467708 h 5920067"/>
              <a:gd name="connsiteX200" fmla="*/ 0 w 11199600"/>
              <a:gd name="connsiteY200" fmla="*/ 2449933 h 5920067"/>
              <a:gd name="connsiteX201" fmla="*/ 0 w 11199600"/>
              <a:gd name="connsiteY201" fmla="*/ 2197803 h 5920067"/>
              <a:gd name="connsiteX202" fmla="*/ 0 w 11199600"/>
              <a:gd name="connsiteY202" fmla="*/ 2180556 h 5920067"/>
              <a:gd name="connsiteX203" fmla="*/ 0 w 11199600"/>
              <a:gd name="connsiteY203" fmla="*/ 2175692 h 5920067"/>
              <a:gd name="connsiteX204" fmla="*/ 0 w 11199600"/>
              <a:gd name="connsiteY204" fmla="*/ 2088721 h 5920067"/>
              <a:gd name="connsiteX205" fmla="*/ 0 w 11199600"/>
              <a:gd name="connsiteY205" fmla="*/ 1906316 h 5920067"/>
              <a:gd name="connsiteX206" fmla="*/ 0 w 11199600"/>
              <a:gd name="connsiteY206" fmla="*/ 1866658 h 5920067"/>
              <a:gd name="connsiteX207" fmla="*/ 0 w 11199600"/>
              <a:gd name="connsiteY207" fmla="*/ 1814481 h 5920067"/>
              <a:gd name="connsiteX208" fmla="*/ 0 w 11199600"/>
              <a:gd name="connsiteY208" fmla="*/ 1702609 h 5920067"/>
              <a:gd name="connsiteX209" fmla="*/ 0 w 11199600"/>
              <a:gd name="connsiteY209" fmla="*/ 1592418 h 5920067"/>
              <a:gd name="connsiteX210" fmla="*/ 0 w 11199600"/>
              <a:gd name="connsiteY210" fmla="*/ 1529519 h 5920067"/>
              <a:gd name="connsiteX211" fmla="*/ 0 w 11199600"/>
              <a:gd name="connsiteY211" fmla="*/ 1428369 h 5920067"/>
              <a:gd name="connsiteX212" fmla="*/ 0 w 11199600"/>
              <a:gd name="connsiteY212" fmla="*/ 1290764 h 5920067"/>
              <a:gd name="connsiteX213" fmla="*/ 0 w 11199600"/>
              <a:gd name="connsiteY213" fmla="*/ 1255278 h 5920067"/>
              <a:gd name="connsiteX214" fmla="*/ 0 w 11199600"/>
              <a:gd name="connsiteY214" fmla="*/ 1168307 h 5920067"/>
              <a:gd name="connsiteX215" fmla="*/ 0 w 11199600"/>
              <a:gd name="connsiteY215" fmla="*/ 1016524 h 5920067"/>
              <a:gd name="connsiteX216" fmla="*/ 0 w 11199600"/>
              <a:gd name="connsiteY216" fmla="*/ 894067 h 5920067"/>
              <a:gd name="connsiteX217" fmla="*/ 0 w 11199600"/>
              <a:gd name="connsiteY217" fmla="*/ 782195 h 5920067"/>
              <a:gd name="connsiteX218" fmla="*/ 0 w 11199600"/>
              <a:gd name="connsiteY218" fmla="*/ 507955 h 5920067"/>
              <a:gd name="connsiteX219" fmla="*/ 0 w 11199600"/>
              <a:gd name="connsiteY219" fmla="*/ 370350 h 5920067"/>
              <a:gd name="connsiteX220" fmla="*/ 0 w 11199600"/>
              <a:gd name="connsiteY220" fmla="*/ 96110 h 5920067"/>
              <a:gd name="connsiteX221" fmla="*/ 95997 w 11199600"/>
              <a:gd name="connsiteY221" fmla="*/ 0 h 5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</a:cxnLst>
            <a:rect l="l" t="t" r="r" b="b"/>
            <a:pathLst>
              <a:path w="11199600" h="5920067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cubicBezTo>
                  <a:pt x="11199600" y="1328117"/>
                  <a:pt x="11199600" y="1337455"/>
                  <a:pt x="11199600" y="1349128"/>
                </a:cubicBez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239653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9591"/>
                </a:lnTo>
                <a:lnTo>
                  <a:pt x="11199600" y="2527610"/>
                </a:lnTo>
                <a:lnTo>
                  <a:pt x="11199600" y="2531945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801851"/>
                </a:lnTo>
                <a:lnTo>
                  <a:pt x="11199600" y="2819097"/>
                </a:lnTo>
                <a:lnTo>
                  <a:pt x="11199600" y="2928965"/>
                </a:lnTo>
                <a:lnTo>
                  <a:pt x="11199600" y="2973972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178119"/>
                </a:lnTo>
                <a:lnTo>
                  <a:pt x="11199600" y="3203205"/>
                </a:lnTo>
                <a:lnTo>
                  <a:pt x="11199600" y="3407236"/>
                </a:lnTo>
                <a:lnTo>
                  <a:pt x="11199600" y="3448024"/>
                </a:lnTo>
                <a:lnTo>
                  <a:pt x="11199600" y="3452359"/>
                </a:lnTo>
                <a:lnTo>
                  <a:pt x="11199600" y="3470135"/>
                </a:lnTo>
                <a:lnTo>
                  <a:pt x="11199600" y="3722265"/>
                </a:lnTo>
                <a:lnTo>
                  <a:pt x="11199600" y="3739511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013751"/>
                </a:lnTo>
                <a:lnTo>
                  <a:pt x="11199600" y="4053409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327650"/>
                </a:lnTo>
                <a:lnTo>
                  <a:pt x="11199600" y="439054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664789"/>
                </a:lnTo>
                <a:lnTo>
                  <a:pt x="11199600" y="4751760"/>
                </a:lnTo>
                <a:lnTo>
                  <a:pt x="11199600" y="4903543"/>
                </a:lnTo>
                <a:lnTo>
                  <a:pt x="11199600" y="5026000"/>
                </a:lnTo>
                <a:lnTo>
                  <a:pt x="11199600" y="5137873"/>
                </a:lnTo>
                <a:lnTo>
                  <a:pt x="11199600" y="5412113"/>
                </a:lnTo>
                <a:lnTo>
                  <a:pt x="11199600" y="5549717"/>
                </a:lnTo>
                <a:lnTo>
                  <a:pt x="11199600" y="5823957"/>
                </a:lnTo>
                <a:cubicBezTo>
                  <a:pt x="11199600" y="5920067"/>
                  <a:pt x="11103603" y="5920067"/>
                  <a:pt x="11103603" y="5920067"/>
                </a:cubicBezTo>
                <a:cubicBezTo>
                  <a:pt x="11103603" y="5920067"/>
                  <a:pt x="11103603" y="5920067"/>
                  <a:pt x="95997" y="5920067"/>
                </a:cubicBezTo>
                <a:cubicBezTo>
                  <a:pt x="0" y="5920067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2">
              <a:lumMod val="20000"/>
              <a:lumOff val="80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796733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06601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046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 bwMode="gray">
          <a:xfrm>
            <a:off x="5099859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873764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DDD2A080-DA64-4F5C-9131-47EB793B441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81190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 31"/>
          <p:cNvSpPr>
            <a:spLocks noChangeAspect="1"/>
          </p:cNvSpPr>
          <p:nvPr userDrawn="1"/>
        </p:nvSpPr>
        <p:spPr bwMode="gray">
          <a:xfrm>
            <a:off x="563662" y="1695452"/>
            <a:ext cx="8646300" cy="2630915"/>
          </a:xfrm>
          <a:custGeom>
            <a:avLst/>
            <a:gdLst>
              <a:gd name="T0" fmla="*/ 2480 w 2480"/>
              <a:gd name="T1" fmla="*/ 528 h 611"/>
              <a:gd name="T2" fmla="*/ 2480 w 2480"/>
              <a:gd name="T3" fmla="*/ 32 h 611"/>
              <a:gd name="T4" fmla="*/ 2448 w 2480"/>
              <a:gd name="T5" fmla="*/ 0 h 611"/>
              <a:gd name="T6" fmla="*/ 32 w 2480"/>
              <a:gd name="T7" fmla="*/ 0 h 611"/>
              <a:gd name="T8" fmla="*/ 0 w 2480"/>
              <a:gd name="T9" fmla="*/ 32 h 611"/>
              <a:gd name="T10" fmla="*/ 0 w 2480"/>
              <a:gd name="T11" fmla="*/ 528 h 611"/>
              <a:gd name="T12" fmla="*/ 32 w 2480"/>
              <a:gd name="T13" fmla="*/ 560 h 611"/>
              <a:gd name="T14" fmla="*/ 237 w 2480"/>
              <a:gd name="T15" fmla="*/ 560 h 611"/>
              <a:gd name="T16" fmla="*/ 271 w 2480"/>
              <a:gd name="T17" fmla="*/ 604 h 611"/>
              <a:gd name="T18" fmla="*/ 289 w 2480"/>
              <a:gd name="T19" fmla="*/ 604 h 611"/>
              <a:gd name="T20" fmla="*/ 323 w 2480"/>
              <a:gd name="T21" fmla="*/ 560 h 611"/>
              <a:gd name="T22" fmla="*/ 2448 w 2480"/>
              <a:gd name="T23" fmla="*/ 560 h 611"/>
              <a:gd name="T24" fmla="*/ 2480 w 2480"/>
              <a:gd name="T25" fmla="*/ 528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480" h="611">
                <a:moveTo>
                  <a:pt x="2480" y="528"/>
                </a:moveTo>
                <a:cubicBezTo>
                  <a:pt x="2480" y="32"/>
                  <a:pt x="2480" y="32"/>
                  <a:pt x="2480" y="32"/>
                </a:cubicBezTo>
                <a:cubicBezTo>
                  <a:pt x="2480" y="32"/>
                  <a:pt x="2480" y="0"/>
                  <a:pt x="2448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2" y="0"/>
                  <a:pt x="0" y="0"/>
                  <a:pt x="0" y="32"/>
                </a:cubicBezTo>
                <a:cubicBezTo>
                  <a:pt x="0" y="528"/>
                  <a:pt x="0" y="528"/>
                  <a:pt x="0" y="528"/>
                </a:cubicBezTo>
                <a:cubicBezTo>
                  <a:pt x="0" y="528"/>
                  <a:pt x="0" y="560"/>
                  <a:pt x="32" y="560"/>
                </a:cubicBezTo>
                <a:cubicBezTo>
                  <a:pt x="237" y="560"/>
                  <a:pt x="237" y="560"/>
                  <a:pt x="237" y="560"/>
                </a:cubicBezTo>
                <a:cubicBezTo>
                  <a:pt x="271" y="604"/>
                  <a:pt x="271" y="604"/>
                  <a:pt x="271" y="604"/>
                </a:cubicBezTo>
                <a:cubicBezTo>
                  <a:pt x="276" y="611"/>
                  <a:pt x="284" y="611"/>
                  <a:pt x="289" y="604"/>
                </a:cubicBezTo>
                <a:cubicBezTo>
                  <a:pt x="323" y="560"/>
                  <a:pt x="323" y="560"/>
                  <a:pt x="323" y="560"/>
                </a:cubicBezTo>
                <a:cubicBezTo>
                  <a:pt x="2448" y="560"/>
                  <a:pt x="2448" y="560"/>
                  <a:pt x="2448" y="560"/>
                </a:cubicBezTo>
                <a:cubicBezTo>
                  <a:pt x="2448" y="560"/>
                  <a:pt x="2480" y="560"/>
                  <a:pt x="2480" y="528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952372" y="1695454"/>
            <a:ext cx="8257113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smtClean="0"/>
              <a:t>Klik om de stijl te bewerken</a:t>
            </a:r>
            <a:endParaRPr lang="en-GB" dirty="0"/>
          </a:p>
        </p:txBody>
      </p:sp>
      <p:grpSp>
        <p:nvGrpSpPr>
          <p:cNvPr id="36" name="Group 3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3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3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3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4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8618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1553006"/>
              </p:ext>
            </p:extLst>
          </p:nvPr>
        </p:nvGraphicFramePr>
        <p:xfrm>
          <a:off x="1291" y="1592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92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/>
          <p:cNvSpPr>
            <a:spLocks/>
          </p:cNvSpPr>
          <p:nvPr userDrawn="1"/>
        </p:nvSpPr>
        <p:spPr bwMode="auto">
          <a:xfrm>
            <a:off x="537587" y="4997450"/>
            <a:ext cx="8830830" cy="852488"/>
          </a:xfrm>
          <a:prstGeom prst="rect">
            <a:avLst/>
          </a:prstGeom>
          <a:solidFill>
            <a:srgbClr val="FFFFFF">
              <a:lumMod val="95000"/>
              <a:alpha val="7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2400" kern="0" dirty="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537585" y="349868"/>
            <a:ext cx="1216680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 dirty="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537587" y="548443"/>
            <a:ext cx="381194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Last Modified 11/20/2015 3:14 PM W. Europe Standard Time</a:t>
            </a:r>
            <a:endParaRPr lang="en-US" sz="11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537586" y="747017"/>
            <a:ext cx="3499356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Printed 11/20/2015 11:18 AM W. Europe Standard Time</a:t>
            </a:r>
            <a:endParaRPr lang="en-US" sz="11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537585" y="4219386"/>
            <a:ext cx="5455758" cy="578249"/>
            <a:chOff x="1663" y="3080"/>
            <a:chExt cx="3109" cy="357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080"/>
              <a:ext cx="3109" cy="1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7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7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537587" y="1853553"/>
            <a:ext cx="7969600" cy="600164"/>
          </a:xfrm>
          <a:prstGeom prst="rect">
            <a:avLst/>
          </a:prstGeom>
        </p:spPr>
        <p:txBody>
          <a:bodyPr/>
          <a:lstStyle>
            <a:lvl1pPr>
              <a:defRPr sz="3900" b="1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537587" y="3205745"/>
            <a:ext cx="7969600" cy="261610"/>
          </a:xfrm>
        </p:spPr>
        <p:txBody>
          <a:bodyPr wrap="square">
            <a:spAutoFit/>
          </a:bodyPr>
          <a:lstStyle>
            <a:lvl1pPr>
              <a:defRPr sz="1700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grpSp>
        <p:nvGrpSpPr>
          <p:cNvPr id="3" name="Group 2"/>
          <p:cNvGrpSpPr>
            <a:grpSpLocks/>
          </p:cNvGrpSpPr>
          <p:nvPr userDrawn="1"/>
        </p:nvGrpSpPr>
        <p:grpSpPr bwMode="auto">
          <a:xfrm>
            <a:off x="537587" y="6321425"/>
            <a:ext cx="8830830" cy="357188"/>
            <a:chOff x="930275" y="6321425"/>
            <a:chExt cx="10874375" cy="357188"/>
          </a:xfrm>
        </p:grpSpPr>
        <p:pic>
          <p:nvPicPr>
            <p:cNvPr id="23" name="Picture 32" descr="thinkforward.png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275" y="6421438"/>
              <a:ext cx="1955800" cy="25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" name="Picture 33"/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66375" y="6321425"/>
              <a:ext cx="1438275" cy="357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6" name="doc id"/>
          <p:cNvSpPr>
            <a:spLocks noChangeArrowheads="1"/>
          </p:cNvSpPr>
          <p:nvPr userDrawn="1"/>
        </p:nvSpPr>
        <p:spPr bwMode="auto">
          <a:xfrm>
            <a:off x="8641916" y="37255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087940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33459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786705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103672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4988053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45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46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4"/>
            <a:ext cx="1784250" cy="1318571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in. height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 userDrawn="1"/>
        </p:nvSpPr>
        <p:spPr>
          <a:xfrm>
            <a:off x="-1224174" y="5297121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grpSp>
        <p:nvGrpSpPr>
          <p:cNvPr id="53" name="Group 52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4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5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99994806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1pPr>
            <a:lvl2pPr marL="538163" indent="-268288">
              <a:buClr>
                <a:schemeClr val="accent2"/>
              </a:buClr>
              <a:buFont typeface="ING Me" pitchFamily="2" charset="0"/>
              <a:buChar char="•"/>
              <a:defRPr/>
            </a:lvl2pPr>
            <a:lvl3pPr marL="804863" indent="-266700">
              <a:buClr>
                <a:schemeClr val="accent3"/>
              </a:buClr>
              <a:defRPr/>
            </a:lvl3pPr>
            <a:lvl4pPr marL="1077913" indent="-260350">
              <a:buClr>
                <a:schemeClr val="accent4"/>
              </a:buClr>
              <a:defRPr/>
            </a:lvl4pPr>
            <a:lvl5pPr marL="1341438" indent="-252413">
              <a:buClr>
                <a:schemeClr val="accent5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99510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56603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795639"/>
            <a:ext cx="8522455" cy="44051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30" y="1277985"/>
            <a:ext cx="852245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7201408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1pPr>
            <a:lvl2pPr marL="538163" indent="-268288">
              <a:buClr>
                <a:schemeClr val="accent2"/>
              </a:buClr>
              <a:buFont typeface="ING Me" pitchFamily="2" charset="0"/>
              <a:buChar char="•"/>
              <a:defRPr/>
            </a:lvl2pPr>
            <a:lvl3pPr marL="804863" indent="-266700">
              <a:buClr>
                <a:schemeClr val="accent3"/>
              </a:buClr>
              <a:defRPr/>
            </a:lvl3pPr>
            <a:lvl4pPr marL="1077913" indent="-260350">
              <a:buClr>
                <a:schemeClr val="accent4"/>
              </a:buClr>
              <a:defRPr/>
            </a:lvl4pPr>
            <a:lvl5pPr marL="1341438" indent="-252413">
              <a:buClr>
                <a:schemeClr val="accent5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14578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40424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Group 65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67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68" name="Freeform 67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65" name="Picture Placeholder 64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Group 76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78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9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0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1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2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3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4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5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6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7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8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89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0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1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2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3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4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5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6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7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8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1" name="Picture 4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23746152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49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51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52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2"/>
            <a:ext cx="1784250" cy="1317138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in. height</a:t>
            </a:r>
          </a:p>
        </p:txBody>
      </p:sp>
      <p:cxnSp>
        <p:nvCxnSpPr>
          <p:cNvPr id="31" name="Straight Connector 30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 userDrawn="1"/>
        </p:nvSpPr>
        <p:spPr>
          <a:xfrm>
            <a:off x="-1224174" y="5297121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33" name="Straight Connector 3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Group 5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7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5" name="Picture 4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6" name="Group 45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8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9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3819502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79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1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85" name="Freeform 84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 5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4" name="Picture 4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5" name="Group 44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7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8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  <p:sp>
        <p:nvSpPr>
          <p:cNvPr id="54" name="Picture Placeholder 53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01557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37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39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3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60"/>
            <a:ext cx="1784250" cy="287825"/>
          </a:xfrm>
          <a:prstGeom prst="rect">
            <a:avLst/>
          </a:prstGeom>
        </p:spPr>
      </p:pic>
      <p:grpSp>
        <p:nvGrpSpPr>
          <p:cNvPr id="44" name="Group 43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5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8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6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339882437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oup 73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75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76" name="Freeform 75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9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60"/>
            <a:ext cx="1784250" cy="287825"/>
          </a:xfrm>
          <a:prstGeom prst="rect">
            <a:avLst/>
          </a:prstGeom>
        </p:spPr>
      </p:pic>
      <p:grpSp>
        <p:nvGrpSpPr>
          <p:cNvPr id="42" name="Group 41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38" name="Picture Placeholder 37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289848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37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40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41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5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9" y="6291860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7" name="Picture 3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2" name="Group 41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3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4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8192456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002686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Alt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78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0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81" name="Freeform 80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0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9" y="6291860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70" name="Picture Placeholder 69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grpSp>
        <p:nvGrpSpPr>
          <p:cNvPr id="40" name="Group 39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1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2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3522649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ChangeAspect="1"/>
          </p:cNvSpPr>
          <p:nvPr userDrawn="1"/>
        </p:nvSpPr>
        <p:spPr bwMode="gray">
          <a:xfrm>
            <a:off x="566241" y="1201148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29" y="1327150"/>
            <a:ext cx="8522456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2753570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Picture R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>
            <a:spLocks noChangeAspect="1"/>
          </p:cNvSpPr>
          <p:nvPr userDrawn="1"/>
        </p:nvSpPr>
        <p:spPr bwMode="gray">
          <a:xfrm>
            <a:off x="566241" y="1201148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31" y="1327149"/>
            <a:ext cx="4864458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5928122" y="1201147"/>
            <a:ext cx="3737794" cy="4999652"/>
          </a:xfrm>
          <a:custGeom>
            <a:avLst/>
            <a:gdLst>
              <a:gd name="connsiteX0" fmla="*/ 0 w 4600362"/>
              <a:gd name="connsiteY0" fmla="*/ 0 h 4999652"/>
              <a:gd name="connsiteX1" fmla="*/ 4504373 w 4600362"/>
              <a:gd name="connsiteY1" fmla="*/ 0 h 4999652"/>
              <a:gd name="connsiteX2" fmla="*/ 4536051 w 4600362"/>
              <a:gd name="connsiteY2" fmla="*/ 4129 h 4999652"/>
              <a:gd name="connsiteX3" fmla="*/ 4600362 w 4600362"/>
              <a:gd name="connsiteY3" fmla="*/ 96109 h 4999652"/>
              <a:gd name="connsiteX4" fmla="*/ 4600362 w 4600362"/>
              <a:gd name="connsiteY4" fmla="*/ 335164 h 4999652"/>
              <a:gd name="connsiteX5" fmla="*/ 4600362 w 4600362"/>
              <a:gd name="connsiteY5" fmla="*/ 370349 h 4999652"/>
              <a:gd name="connsiteX6" fmla="*/ 4600362 w 4600362"/>
              <a:gd name="connsiteY6" fmla="*/ 379203 h 4999652"/>
              <a:gd name="connsiteX7" fmla="*/ 4600362 w 4600362"/>
              <a:gd name="connsiteY7" fmla="*/ 400047 h 4999652"/>
              <a:gd name="connsiteX8" fmla="*/ 4600362 w 4600362"/>
              <a:gd name="connsiteY8" fmla="*/ 400231 h 4999652"/>
              <a:gd name="connsiteX9" fmla="*/ 4600362 w 4600362"/>
              <a:gd name="connsiteY9" fmla="*/ 471201 h 4999652"/>
              <a:gd name="connsiteX10" fmla="*/ 4600362 w 4600362"/>
              <a:gd name="connsiteY10" fmla="*/ 475720 h 4999652"/>
              <a:gd name="connsiteX11" fmla="*/ 4600362 w 4600362"/>
              <a:gd name="connsiteY11" fmla="*/ 508691 h 4999652"/>
              <a:gd name="connsiteX12" fmla="*/ 4600362 w 4600362"/>
              <a:gd name="connsiteY12" fmla="*/ 554483 h 4999652"/>
              <a:gd name="connsiteX13" fmla="*/ 4600362 w 4600362"/>
              <a:gd name="connsiteY13" fmla="*/ 563014 h 4999652"/>
              <a:gd name="connsiteX14" fmla="*/ 4600362 w 4600362"/>
              <a:gd name="connsiteY14" fmla="*/ 609404 h 4999652"/>
              <a:gd name="connsiteX15" fmla="*/ 4600362 w 4600362"/>
              <a:gd name="connsiteY15" fmla="*/ 662758 h 4999652"/>
              <a:gd name="connsiteX16" fmla="*/ 4600362 w 4600362"/>
              <a:gd name="connsiteY16" fmla="*/ 674287 h 4999652"/>
              <a:gd name="connsiteX17" fmla="*/ 4600362 w 4600362"/>
              <a:gd name="connsiteY17" fmla="*/ 749960 h 4999652"/>
              <a:gd name="connsiteX18" fmla="*/ 4600362 w 4600362"/>
              <a:gd name="connsiteY18" fmla="*/ 775784 h 4999652"/>
              <a:gd name="connsiteX19" fmla="*/ 4600362 w 4600362"/>
              <a:gd name="connsiteY19" fmla="*/ 837254 h 4999652"/>
              <a:gd name="connsiteX20" fmla="*/ 4600362 w 4600362"/>
              <a:gd name="connsiteY20" fmla="*/ 902920 h 4999652"/>
              <a:gd name="connsiteX21" fmla="*/ 4600362 w 4600362"/>
              <a:gd name="connsiteY21" fmla="*/ 936998 h 4999652"/>
              <a:gd name="connsiteX22" fmla="*/ 4600362 w 4600362"/>
              <a:gd name="connsiteY22" fmla="*/ 1044998 h 4999652"/>
              <a:gd name="connsiteX23" fmla="*/ 4600362 w 4600362"/>
              <a:gd name="connsiteY23" fmla="*/ 1050024 h 4999652"/>
              <a:gd name="connsiteX24" fmla="*/ 4600362 w 4600362"/>
              <a:gd name="connsiteY24" fmla="*/ 1177160 h 4999652"/>
              <a:gd name="connsiteX25" fmla="*/ 4600362 w 4600362"/>
              <a:gd name="connsiteY25" fmla="*/ 1202846 h 4999652"/>
              <a:gd name="connsiteX26" fmla="*/ 4600362 w 4600362"/>
              <a:gd name="connsiteY26" fmla="*/ 1319238 h 4999652"/>
              <a:gd name="connsiteX27" fmla="*/ 4600362 w 4600362"/>
              <a:gd name="connsiteY27" fmla="*/ 1377295 h 4999652"/>
              <a:gd name="connsiteX28" fmla="*/ 4600362 w 4600362"/>
              <a:gd name="connsiteY28" fmla="*/ 1477086 h 4999652"/>
              <a:gd name="connsiteX29" fmla="*/ 4600362 w 4600362"/>
              <a:gd name="connsiteY29" fmla="*/ 1569176 h 4999652"/>
              <a:gd name="connsiteX30" fmla="*/ 4600362 w 4600362"/>
              <a:gd name="connsiteY30" fmla="*/ 1651535 h 4999652"/>
              <a:gd name="connsiteX31" fmla="*/ 4600362 w 4600362"/>
              <a:gd name="connsiteY31" fmla="*/ 1779317 h 4999652"/>
              <a:gd name="connsiteX32" fmla="*/ 4600362 w 4600362"/>
              <a:gd name="connsiteY32" fmla="*/ 1843416 h 4999652"/>
              <a:gd name="connsiteX33" fmla="*/ 4600362 w 4600362"/>
              <a:gd name="connsiteY33" fmla="*/ 2008550 h 4999652"/>
              <a:gd name="connsiteX34" fmla="*/ 4600362 w 4600362"/>
              <a:gd name="connsiteY34" fmla="*/ 2053557 h 4999652"/>
              <a:gd name="connsiteX35" fmla="*/ 4600362 w 4600362"/>
              <a:gd name="connsiteY35" fmla="*/ 2257704 h 4999652"/>
              <a:gd name="connsiteX36" fmla="*/ 4600362 w 4600362"/>
              <a:gd name="connsiteY36" fmla="*/ 2282790 h 4999652"/>
              <a:gd name="connsiteX37" fmla="*/ 4600362 w 4600362"/>
              <a:gd name="connsiteY37" fmla="*/ 2527609 h 4999652"/>
              <a:gd name="connsiteX38" fmla="*/ 4600362 w 4600362"/>
              <a:gd name="connsiteY38" fmla="*/ 2531944 h 4999652"/>
              <a:gd name="connsiteX39" fmla="*/ 4600362 w 4600362"/>
              <a:gd name="connsiteY39" fmla="*/ 2801850 h 4999652"/>
              <a:gd name="connsiteX40" fmla="*/ 4600362 w 4600362"/>
              <a:gd name="connsiteY40" fmla="*/ 2819096 h 4999652"/>
              <a:gd name="connsiteX41" fmla="*/ 4600362 w 4600362"/>
              <a:gd name="connsiteY41" fmla="*/ 3093336 h 4999652"/>
              <a:gd name="connsiteX42" fmla="*/ 4600362 w 4600362"/>
              <a:gd name="connsiteY42" fmla="*/ 3132994 h 4999652"/>
              <a:gd name="connsiteX43" fmla="*/ 4600362 w 4600362"/>
              <a:gd name="connsiteY43" fmla="*/ 3407235 h 4999652"/>
              <a:gd name="connsiteX44" fmla="*/ 4600362 w 4600362"/>
              <a:gd name="connsiteY44" fmla="*/ 3470134 h 4999652"/>
              <a:gd name="connsiteX45" fmla="*/ 4600362 w 4600362"/>
              <a:gd name="connsiteY45" fmla="*/ 3744374 h 4999652"/>
              <a:gd name="connsiteX46" fmla="*/ 4600362 w 4600362"/>
              <a:gd name="connsiteY46" fmla="*/ 3831345 h 4999652"/>
              <a:gd name="connsiteX47" fmla="*/ 4600362 w 4600362"/>
              <a:gd name="connsiteY47" fmla="*/ 4105585 h 4999652"/>
              <a:gd name="connsiteX48" fmla="*/ 4600362 w 4600362"/>
              <a:gd name="connsiteY48" fmla="*/ 4217458 h 4999652"/>
              <a:gd name="connsiteX49" fmla="*/ 4600362 w 4600362"/>
              <a:gd name="connsiteY49" fmla="*/ 4491698 h 4999652"/>
              <a:gd name="connsiteX50" fmla="*/ 4600362 w 4600362"/>
              <a:gd name="connsiteY50" fmla="*/ 4629302 h 4999652"/>
              <a:gd name="connsiteX51" fmla="*/ 4600362 w 4600362"/>
              <a:gd name="connsiteY51" fmla="*/ 4903542 h 4999652"/>
              <a:gd name="connsiteX52" fmla="*/ 4504365 w 4600362"/>
              <a:gd name="connsiteY52" fmla="*/ 4999652 h 4999652"/>
              <a:gd name="connsiteX53" fmla="*/ 144766 w 4600362"/>
              <a:gd name="connsiteY53" fmla="*/ 4999652 h 4999652"/>
              <a:gd name="connsiteX54" fmla="*/ 0 w 4600362"/>
              <a:gd name="connsiteY54" fmla="*/ 4999652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4600362" h="4999652">
                <a:moveTo>
                  <a:pt x="0" y="0"/>
                </a:moveTo>
                <a:lnTo>
                  <a:pt x="4504373" y="0"/>
                </a:lnTo>
                <a:lnTo>
                  <a:pt x="4536051" y="4129"/>
                </a:lnTo>
                <a:cubicBezTo>
                  <a:pt x="4600362" y="22525"/>
                  <a:pt x="4600362" y="96109"/>
                  <a:pt x="4600362" y="96109"/>
                </a:cubicBezTo>
                <a:cubicBezTo>
                  <a:pt x="4600362" y="96109"/>
                  <a:pt x="4600362" y="96109"/>
                  <a:pt x="4600362" y="335164"/>
                </a:cubicBezTo>
                <a:lnTo>
                  <a:pt x="4600362" y="370349"/>
                </a:lnTo>
                <a:cubicBezTo>
                  <a:pt x="4600362" y="370349"/>
                  <a:pt x="4600362" y="370349"/>
                  <a:pt x="4600362" y="379203"/>
                </a:cubicBezTo>
                <a:lnTo>
                  <a:pt x="4600362" y="400047"/>
                </a:lnTo>
                <a:lnTo>
                  <a:pt x="4600362" y="400231"/>
                </a:lnTo>
                <a:cubicBezTo>
                  <a:pt x="4600362" y="415172"/>
                  <a:pt x="4600362" y="437584"/>
                  <a:pt x="4600362" y="471201"/>
                </a:cubicBezTo>
                <a:lnTo>
                  <a:pt x="4600362" y="475720"/>
                </a:lnTo>
                <a:lnTo>
                  <a:pt x="4600362" y="508691"/>
                </a:lnTo>
                <a:cubicBezTo>
                  <a:pt x="4600362" y="522526"/>
                  <a:pt x="4600362" y="537743"/>
                  <a:pt x="4600362" y="554483"/>
                </a:cubicBezTo>
                <a:lnTo>
                  <a:pt x="4600362" y="563014"/>
                </a:lnTo>
                <a:lnTo>
                  <a:pt x="4600362" y="609404"/>
                </a:lnTo>
                <a:lnTo>
                  <a:pt x="4600362" y="662758"/>
                </a:lnTo>
                <a:lnTo>
                  <a:pt x="4600362" y="674287"/>
                </a:lnTo>
                <a:cubicBezTo>
                  <a:pt x="4600362" y="697667"/>
                  <a:pt x="4600362" y="722845"/>
                  <a:pt x="4600362" y="749960"/>
                </a:cubicBezTo>
                <a:lnTo>
                  <a:pt x="4600362" y="775784"/>
                </a:lnTo>
                <a:lnTo>
                  <a:pt x="4600362" y="837254"/>
                </a:lnTo>
                <a:lnTo>
                  <a:pt x="4600362" y="902920"/>
                </a:lnTo>
                <a:lnTo>
                  <a:pt x="4600362" y="936998"/>
                </a:lnTo>
                <a:lnTo>
                  <a:pt x="4600362" y="1044998"/>
                </a:lnTo>
                <a:lnTo>
                  <a:pt x="4600362" y="1050024"/>
                </a:lnTo>
                <a:cubicBezTo>
                  <a:pt x="4600362" y="1090005"/>
                  <a:pt x="4600362" y="1132337"/>
                  <a:pt x="4600362" y="1177160"/>
                </a:cubicBezTo>
                <a:lnTo>
                  <a:pt x="4600362" y="1202846"/>
                </a:lnTo>
                <a:lnTo>
                  <a:pt x="4600362" y="1319238"/>
                </a:lnTo>
                <a:lnTo>
                  <a:pt x="4600362" y="1377295"/>
                </a:lnTo>
                <a:lnTo>
                  <a:pt x="4600362" y="1477086"/>
                </a:lnTo>
                <a:lnTo>
                  <a:pt x="4600362" y="1569176"/>
                </a:lnTo>
                <a:lnTo>
                  <a:pt x="4600362" y="1651535"/>
                </a:lnTo>
                <a:lnTo>
                  <a:pt x="4600362" y="1779317"/>
                </a:lnTo>
                <a:lnTo>
                  <a:pt x="4600362" y="1843416"/>
                </a:lnTo>
                <a:lnTo>
                  <a:pt x="4600362" y="2008550"/>
                </a:lnTo>
                <a:lnTo>
                  <a:pt x="4600362" y="2053557"/>
                </a:lnTo>
                <a:lnTo>
                  <a:pt x="4600362" y="2257704"/>
                </a:lnTo>
                <a:lnTo>
                  <a:pt x="4600362" y="2282790"/>
                </a:lnTo>
                <a:lnTo>
                  <a:pt x="4600362" y="2527609"/>
                </a:lnTo>
                <a:lnTo>
                  <a:pt x="4600362" y="2531944"/>
                </a:lnTo>
                <a:cubicBezTo>
                  <a:pt x="4600362" y="2618408"/>
                  <a:pt x="4600362" y="2708330"/>
                  <a:pt x="4600362" y="2801850"/>
                </a:cubicBezTo>
                <a:lnTo>
                  <a:pt x="4600362" y="2819096"/>
                </a:lnTo>
                <a:lnTo>
                  <a:pt x="4600362" y="3093336"/>
                </a:lnTo>
                <a:lnTo>
                  <a:pt x="4600362" y="3132994"/>
                </a:lnTo>
                <a:lnTo>
                  <a:pt x="4600362" y="3407235"/>
                </a:lnTo>
                <a:lnTo>
                  <a:pt x="4600362" y="3470134"/>
                </a:lnTo>
                <a:lnTo>
                  <a:pt x="4600362" y="3744374"/>
                </a:lnTo>
                <a:lnTo>
                  <a:pt x="4600362" y="3831345"/>
                </a:lnTo>
                <a:lnTo>
                  <a:pt x="4600362" y="4105585"/>
                </a:lnTo>
                <a:lnTo>
                  <a:pt x="4600362" y="4217458"/>
                </a:lnTo>
                <a:lnTo>
                  <a:pt x="4600362" y="4491698"/>
                </a:lnTo>
                <a:lnTo>
                  <a:pt x="4600362" y="4629302"/>
                </a:lnTo>
                <a:lnTo>
                  <a:pt x="4600362" y="4903542"/>
                </a:lnTo>
                <a:cubicBezTo>
                  <a:pt x="4600362" y="4999652"/>
                  <a:pt x="4504365" y="4999652"/>
                  <a:pt x="4504365" y="4999652"/>
                </a:cubicBezTo>
                <a:cubicBezTo>
                  <a:pt x="4504365" y="4999652"/>
                  <a:pt x="4504365" y="4999652"/>
                  <a:pt x="144766" y="4999652"/>
                </a:cubicBezTo>
                <a:lnTo>
                  <a:pt x="0" y="4999652"/>
                </a:lnTo>
                <a:close/>
              </a:path>
            </a:pathLst>
          </a:custGeom>
          <a:noFill/>
        </p:spPr>
        <p:txBody>
          <a:bodyPr wrap="square" tIns="108000">
            <a:noAutofit/>
          </a:bodyPr>
          <a:lstStyle/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000437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4308" userDrawn="1">
          <p15:clr>
            <a:srgbClr val="FBAE40"/>
          </p15:clr>
        </p15:guide>
        <p15:guide id="2" pos="4596" userDrawn="1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eform 9"/>
          <p:cNvSpPr>
            <a:spLocks noChangeAspect="1"/>
          </p:cNvSpPr>
          <p:nvPr userDrawn="1"/>
        </p:nvSpPr>
        <p:spPr bwMode="gray">
          <a:xfrm>
            <a:off x="0" y="1695450"/>
            <a:ext cx="9222525" cy="2382290"/>
          </a:xfrm>
          <a:custGeom>
            <a:avLst/>
            <a:gdLst>
              <a:gd name="T0" fmla="*/ 0 w 2680"/>
              <a:gd name="T1" fmla="*/ 560 h 560"/>
              <a:gd name="T2" fmla="*/ 2648 w 2680"/>
              <a:gd name="T3" fmla="*/ 560 h 560"/>
              <a:gd name="T4" fmla="*/ 2680 w 2680"/>
              <a:gd name="T5" fmla="*/ 528 h 560"/>
              <a:gd name="T6" fmla="*/ 2680 w 2680"/>
              <a:gd name="T7" fmla="*/ 32 h 560"/>
              <a:gd name="T8" fmla="*/ 2648 w 2680"/>
              <a:gd name="T9" fmla="*/ 0 h 560"/>
              <a:gd name="T10" fmla="*/ 0 w 2680"/>
              <a:gd name="T11" fmla="*/ 0 h 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80" h="560">
                <a:moveTo>
                  <a:pt x="0" y="560"/>
                </a:moveTo>
                <a:cubicBezTo>
                  <a:pt x="2648" y="560"/>
                  <a:pt x="2648" y="560"/>
                  <a:pt x="2648" y="560"/>
                </a:cubicBezTo>
                <a:cubicBezTo>
                  <a:pt x="2648" y="560"/>
                  <a:pt x="2680" y="560"/>
                  <a:pt x="2680" y="528"/>
                </a:cubicBezTo>
                <a:cubicBezTo>
                  <a:pt x="2680" y="32"/>
                  <a:pt x="2680" y="32"/>
                  <a:pt x="2680" y="32"/>
                </a:cubicBezTo>
                <a:cubicBezTo>
                  <a:pt x="2680" y="32"/>
                  <a:pt x="2680" y="0"/>
                  <a:pt x="2648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684477" y="1695454"/>
            <a:ext cx="8379482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0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1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0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41167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7"/>
          <p:cNvSpPr>
            <a:spLocks noGrp="1"/>
          </p:cNvSpPr>
          <p:nvPr>
            <p:ph type="pic" sz="quarter" idx="16"/>
          </p:nvPr>
        </p:nvSpPr>
        <p:spPr bwMode="gray">
          <a:xfrm>
            <a:off x="566241" y="1696718"/>
            <a:ext cx="9099675" cy="4504080"/>
          </a:xfrm>
          <a:custGeom>
            <a:avLst/>
            <a:gdLst>
              <a:gd name="connsiteX0" fmla="*/ 95997 w 11199600"/>
              <a:gd name="connsiteY0" fmla="*/ 0 h 4504080"/>
              <a:gd name="connsiteX1" fmla="*/ 11103603 w 11199600"/>
              <a:gd name="connsiteY1" fmla="*/ 0 h 4504080"/>
              <a:gd name="connsiteX2" fmla="*/ 11199600 w 11199600"/>
              <a:gd name="connsiteY2" fmla="*/ 96110 h 4504080"/>
              <a:gd name="connsiteX3" fmla="*/ 11199600 w 11199600"/>
              <a:gd name="connsiteY3" fmla="*/ 335165 h 4504080"/>
              <a:gd name="connsiteX4" fmla="*/ 11199600 w 11199600"/>
              <a:gd name="connsiteY4" fmla="*/ 370350 h 4504080"/>
              <a:gd name="connsiteX5" fmla="*/ 11199600 w 11199600"/>
              <a:gd name="connsiteY5" fmla="*/ 379204 h 4504080"/>
              <a:gd name="connsiteX6" fmla="*/ 11199600 w 11199600"/>
              <a:gd name="connsiteY6" fmla="*/ 400048 h 4504080"/>
              <a:gd name="connsiteX7" fmla="*/ 11199600 w 11199600"/>
              <a:gd name="connsiteY7" fmla="*/ 400232 h 4504080"/>
              <a:gd name="connsiteX8" fmla="*/ 11199600 w 11199600"/>
              <a:gd name="connsiteY8" fmla="*/ 471202 h 4504080"/>
              <a:gd name="connsiteX9" fmla="*/ 11199600 w 11199600"/>
              <a:gd name="connsiteY9" fmla="*/ 475721 h 4504080"/>
              <a:gd name="connsiteX10" fmla="*/ 11199600 w 11199600"/>
              <a:gd name="connsiteY10" fmla="*/ 508692 h 4504080"/>
              <a:gd name="connsiteX11" fmla="*/ 11199600 w 11199600"/>
              <a:gd name="connsiteY11" fmla="*/ 554484 h 4504080"/>
              <a:gd name="connsiteX12" fmla="*/ 11199600 w 11199600"/>
              <a:gd name="connsiteY12" fmla="*/ 563015 h 4504080"/>
              <a:gd name="connsiteX13" fmla="*/ 11199600 w 11199600"/>
              <a:gd name="connsiteY13" fmla="*/ 609405 h 4504080"/>
              <a:gd name="connsiteX14" fmla="*/ 11199600 w 11199600"/>
              <a:gd name="connsiteY14" fmla="*/ 662759 h 4504080"/>
              <a:gd name="connsiteX15" fmla="*/ 11199600 w 11199600"/>
              <a:gd name="connsiteY15" fmla="*/ 674288 h 4504080"/>
              <a:gd name="connsiteX16" fmla="*/ 11199600 w 11199600"/>
              <a:gd name="connsiteY16" fmla="*/ 749961 h 4504080"/>
              <a:gd name="connsiteX17" fmla="*/ 11199600 w 11199600"/>
              <a:gd name="connsiteY17" fmla="*/ 775785 h 4504080"/>
              <a:gd name="connsiteX18" fmla="*/ 11199600 w 11199600"/>
              <a:gd name="connsiteY18" fmla="*/ 837255 h 4504080"/>
              <a:gd name="connsiteX19" fmla="*/ 11199600 w 11199600"/>
              <a:gd name="connsiteY19" fmla="*/ 902921 h 4504080"/>
              <a:gd name="connsiteX20" fmla="*/ 11199600 w 11199600"/>
              <a:gd name="connsiteY20" fmla="*/ 936999 h 4504080"/>
              <a:gd name="connsiteX21" fmla="*/ 11199600 w 11199600"/>
              <a:gd name="connsiteY21" fmla="*/ 1044999 h 4504080"/>
              <a:gd name="connsiteX22" fmla="*/ 11199600 w 11199600"/>
              <a:gd name="connsiteY22" fmla="*/ 1050025 h 4504080"/>
              <a:gd name="connsiteX23" fmla="*/ 11199600 w 11199600"/>
              <a:gd name="connsiteY23" fmla="*/ 1177161 h 4504080"/>
              <a:gd name="connsiteX24" fmla="*/ 11199600 w 11199600"/>
              <a:gd name="connsiteY24" fmla="*/ 1202847 h 4504080"/>
              <a:gd name="connsiteX25" fmla="*/ 11199600 w 11199600"/>
              <a:gd name="connsiteY25" fmla="*/ 1319239 h 4504080"/>
              <a:gd name="connsiteX26" fmla="*/ 11199600 w 11199600"/>
              <a:gd name="connsiteY26" fmla="*/ 1377296 h 4504080"/>
              <a:gd name="connsiteX27" fmla="*/ 11199600 w 11199600"/>
              <a:gd name="connsiteY27" fmla="*/ 1477087 h 4504080"/>
              <a:gd name="connsiteX28" fmla="*/ 11199600 w 11199600"/>
              <a:gd name="connsiteY28" fmla="*/ 1569177 h 4504080"/>
              <a:gd name="connsiteX29" fmla="*/ 11199600 w 11199600"/>
              <a:gd name="connsiteY29" fmla="*/ 1626118 h 4504080"/>
              <a:gd name="connsiteX30" fmla="*/ 11199600 w 11199600"/>
              <a:gd name="connsiteY30" fmla="*/ 1651536 h 4504080"/>
              <a:gd name="connsiteX31" fmla="*/ 11199600 w 11199600"/>
              <a:gd name="connsiteY31" fmla="*/ 1762133 h 4504080"/>
              <a:gd name="connsiteX32" fmla="*/ 11199600 w 11199600"/>
              <a:gd name="connsiteY32" fmla="*/ 1779318 h 4504080"/>
              <a:gd name="connsiteX33" fmla="*/ 11199600 w 11199600"/>
              <a:gd name="connsiteY33" fmla="*/ 1787219 h 4504080"/>
              <a:gd name="connsiteX34" fmla="*/ 11199600 w 11199600"/>
              <a:gd name="connsiteY34" fmla="*/ 1843417 h 4504080"/>
              <a:gd name="connsiteX35" fmla="*/ 11199600 w 11199600"/>
              <a:gd name="connsiteY35" fmla="*/ 1984894 h 4504080"/>
              <a:gd name="connsiteX36" fmla="*/ 11199600 w 11199600"/>
              <a:gd name="connsiteY36" fmla="*/ 2032038 h 4504080"/>
              <a:gd name="connsiteX37" fmla="*/ 11199600 w 11199600"/>
              <a:gd name="connsiteY37" fmla="*/ 2036373 h 4504080"/>
              <a:gd name="connsiteX38" fmla="*/ 11199600 w 11199600"/>
              <a:gd name="connsiteY38" fmla="*/ 2306279 h 4504080"/>
              <a:gd name="connsiteX39" fmla="*/ 11199600 w 11199600"/>
              <a:gd name="connsiteY39" fmla="*/ 2323525 h 4504080"/>
              <a:gd name="connsiteX40" fmla="*/ 11199600 w 11199600"/>
              <a:gd name="connsiteY40" fmla="*/ 2597765 h 4504080"/>
              <a:gd name="connsiteX41" fmla="*/ 11199600 w 11199600"/>
              <a:gd name="connsiteY41" fmla="*/ 2637423 h 4504080"/>
              <a:gd name="connsiteX42" fmla="*/ 11199600 w 11199600"/>
              <a:gd name="connsiteY42" fmla="*/ 2911664 h 4504080"/>
              <a:gd name="connsiteX43" fmla="*/ 11199600 w 11199600"/>
              <a:gd name="connsiteY43" fmla="*/ 2974563 h 4504080"/>
              <a:gd name="connsiteX44" fmla="*/ 11199600 w 11199600"/>
              <a:gd name="connsiteY44" fmla="*/ 3248803 h 4504080"/>
              <a:gd name="connsiteX45" fmla="*/ 11199600 w 11199600"/>
              <a:gd name="connsiteY45" fmla="*/ 3335774 h 4504080"/>
              <a:gd name="connsiteX46" fmla="*/ 11199600 w 11199600"/>
              <a:gd name="connsiteY46" fmla="*/ 3610014 h 4504080"/>
              <a:gd name="connsiteX47" fmla="*/ 11199600 w 11199600"/>
              <a:gd name="connsiteY47" fmla="*/ 3721887 h 4504080"/>
              <a:gd name="connsiteX48" fmla="*/ 11199600 w 11199600"/>
              <a:gd name="connsiteY48" fmla="*/ 3996127 h 4504080"/>
              <a:gd name="connsiteX49" fmla="*/ 11199600 w 11199600"/>
              <a:gd name="connsiteY49" fmla="*/ 4133731 h 4504080"/>
              <a:gd name="connsiteX50" fmla="*/ 11199600 w 11199600"/>
              <a:gd name="connsiteY50" fmla="*/ 4407971 h 4504080"/>
              <a:gd name="connsiteX51" fmla="*/ 11118603 w 11199600"/>
              <a:gd name="connsiteY51" fmla="*/ 4502580 h 4504080"/>
              <a:gd name="connsiteX52" fmla="*/ 11103613 w 11199600"/>
              <a:gd name="connsiteY52" fmla="*/ 4504080 h 4504080"/>
              <a:gd name="connsiteX53" fmla="*/ 95989 w 11199600"/>
              <a:gd name="connsiteY53" fmla="*/ 4504080 h 4504080"/>
              <a:gd name="connsiteX54" fmla="*/ 64311 w 11199600"/>
              <a:gd name="connsiteY54" fmla="*/ 4499952 h 4504080"/>
              <a:gd name="connsiteX55" fmla="*/ 0 w 11199600"/>
              <a:gd name="connsiteY55" fmla="*/ 4407971 h 4504080"/>
              <a:gd name="connsiteX56" fmla="*/ 0 w 11199600"/>
              <a:gd name="connsiteY56" fmla="*/ 4404236 h 4504080"/>
              <a:gd name="connsiteX57" fmla="*/ 0 w 11199600"/>
              <a:gd name="connsiteY57" fmla="*/ 4395365 h 4504080"/>
              <a:gd name="connsiteX58" fmla="*/ 0 w 11199600"/>
              <a:gd name="connsiteY58" fmla="*/ 4378089 h 4504080"/>
              <a:gd name="connsiteX59" fmla="*/ 0 w 11199600"/>
              <a:gd name="connsiteY59" fmla="*/ 4349608 h 4504080"/>
              <a:gd name="connsiteX60" fmla="*/ 0 w 11199600"/>
              <a:gd name="connsiteY60" fmla="*/ 4307120 h 4504080"/>
              <a:gd name="connsiteX61" fmla="*/ 0 w 11199600"/>
              <a:gd name="connsiteY61" fmla="*/ 4247823 h 4504080"/>
              <a:gd name="connsiteX62" fmla="*/ 0 w 11199600"/>
              <a:gd name="connsiteY62" fmla="*/ 4168916 h 4504080"/>
              <a:gd name="connsiteX63" fmla="*/ 0 w 11199600"/>
              <a:gd name="connsiteY63" fmla="*/ 4133731 h 4504080"/>
              <a:gd name="connsiteX64" fmla="*/ 0 w 11199600"/>
              <a:gd name="connsiteY64" fmla="*/ 4132625 h 4504080"/>
              <a:gd name="connsiteX65" fmla="*/ 0 w 11199600"/>
              <a:gd name="connsiteY65" fmla="*/ 4124877 h 4504080"/>
              <a:gd name="connsiteX66" fmla="*/ 0 w 11199600"/>
              <a:gd name="connsiteY66" fmla="*/ 4104034 h 4504080"/>
              <a:gd name="connsiteX67" fmla="*/ 0 w 11199600"/>
              <a:gd name="connsiteY67" fmla="*/ 4103849 h 4504080"/>
              <a:gd name="connsiteX68" fmla="*/ 0 w 11199600"/>
              <a:gd name="connsiteY68" fmla="*/ 4062900 h 4504080"/>
              <a:gd name="connsiteX69" fmla="*/ 0 w 11199600"/>
              <a:gd name="connsiteY69" fmla="*/ 4032880 h 4504080"/>
              <a:gd name="connsiteX70" fmla="*/ 0 w 11199600"/>
              <a:gd name="connsiteY70" fmla="*/ 4028361 h 4504080"/>
              <a:gd name="connsiteX71" fmla="*/ 0 w 11199600"/>
              <a:gd name="connsiteY71" fmla="*/ 3995389 h 4504080"/>
              <a:gd name="connsiteX72" fmla="*/ 0 w 11199600"/>
              <a:gd name="connsiteY72" fmla="*/ 3949598 h 4504080"/>
              <a:gd name="connsiteX73" fmla="*/ 0 w 11199600"/>
              <a:gd name="connsiteY73" fmla="*/ 3941067 h 4504080"/>
              <a:gd name="connsiteX74" fmla="*/ 0 w 11199600"/>
              <a:gd name="connsiteY74" fmla="*/ 3894676 h 4504080"/>
              <a:gd name="connsiteX75" fmla="*/ 0 w 11199600"/>
              <a:gd name="connsiteY75" fmla="*/ 3841322 h 4504080"/>
              <a:gd name="connsiteX76" fmla="*/ 0 w 11199600"/>
              <a:gd name="connsiteY76" fmla="*/ 3829794 h 4504080"/>
              <a:gd name="connsiteX77" fmla="*/ 0 w 11199600"/>
              <a:gd name="connsiteY77" fmla="*/ 3754121 h 4504080"/>
              <a:gd name="connsiteX78" fmla="*/ 0 w 11199600"/>
              <a:gd name="connsiteY78" fmla="*/ 3728297 h 4504080"/>
              <a:gd name="connsiteX79" fmla="*/ 0 w 11199600"/>
              <a:gd name="connsiteY79" fmla="*/ 3666827 h 4504080"/>
              <a:gd name="connsiteX80" fmla="*/ 0 w 11199600"/>
              <a:gd name="connsiteY80" fmla="*/ 3601160 h 4504080"/>
              <a:gd name="connsiteX81" fmla="*/ 0 w 11199600"/>
              <a:gd name="connsiteY81" fmla="*/ 3567082 h 4504080"/>
              <a:gd name="connsiteX82" fmla="*/ 0 w 11199600"/>
              <a:gd name="connsiteY82" fmla="*/ 3459083 h 4504080"/>
              <a:gd name="connsiteX83" fmla="*/ 0 w 11199600"/>
              <a:gd name="connsiteY83" fmla="*/ 3454057 h 4504080"/>
              <a:gd name="connsiteX84" fmla="*/ 0 w 11199600"/>
              <a:gd name="connsiteY84" fmla="*/ 3326920 h 4504080"/>
              <a:gd name="connsiteX85" fmla="*/ 0 w 11199600"/>
              <a:gd name="connsiteY85" fmla="*/ 3301235 h 4504080"/>
              <a:gd name="connsiteX86" fmla="*/ 0 w 11199600"/>
              <a:gd name="connsiteY86" fmla="*/ 3184843 h 4504080"/>
              <a:gd name="connsiteX87" fmla="*/ 0 w 11199600"/>
              <a:gd name="connsiteY87" fmla="*/ 3126785 h 4504080"/>
              <a:gd name="connsiteX88" fmla="*/ 0 w 11199600"/>
              <a:gd name="connsiteY88" fmla="*/ 3026995 h 4504080"/>
              <a:gd name="connsiteX89" fmla="*/ 0 w 11199600"/>
              <a:gd name="connsiteY89" fmla="*/ 2934905 h 4504080"/>
              <a:gd name="connsiteX90" fmla="*/ 0 w 11199600"/>
              <a:gd name="connsiteY90" fmla="*/ 2852545 h 4504080"/>
              <a:gd name="connsiteX91" fmla="*/ 0 w 11199600"/>
              <a:gd name="connsiteY91" fmla="*/ 2724763 h 4504080"/>
              <a:gd name="connsiteX92" fmla="*/ 0 w 11199600"/>
              <a:gd name="connsiteY92" fmla="*/ 2660665 h 4504080"/>
              <a:gd name="connsiteX93" fmla="*/ 0 w 11199600"/>
              <a:gd name="connsiteY93" fmla="*/ 2495530 h 4504080"/>
              <a:gd name="connsiteX94" fmla="*/ 0 w 11199600"/>
              <a:gd name="connsiteY94" fmla="*/ 2450523 h 4504080"/>
              <a:gd name="connsiteX95" fmla="*/ 0 w 11199600"/>
              <a:gd name="connsiteY95" fmla="*/ 2246376 h 4504080"/>
              <a:gd name="connsiteX96" fmla="*/ 0 w 11199600"/>
              <a:gd name="connsiteY96" fmla="*/ 2221290 h 4504080"/>
              <a:gd name="connsiteX97" fmla="*/ 0 w 11199600"/>
              <a:gd name="connsiteY97" fmla="*/ 1984894 h 4504080"/>
              <a:gd name="connsiteX98" fmla="*/ 0 w 11199600"/>
              <a:gd name="connsiteY98" fmla="*/ 1976471 h 4504080"/>
              <a:gd name="connsiteX99" fmla="*/ 0 w 11199600"/>
              <a:gd name="connsiteY99" fmla="*/ 1972136 h 4504080"/>
              <a:gd name="connsiteX100" fmla="*/ 0 w 11199600"/>
              <a:gd name="connsiteY100" fmla="*/ 1906316 h 4504080"/>
              <a:gd name="connsiteX101" fmla="*/ 0 w 11199600"/>
              <a:gd name="connsiteY101" fmla="*/ 1866658 h 4504080"/>
              <a:gd name="connsiteX102" fmla="*/ 0 w 11199600"/>
              <a:gd name="connsiteY102" fmla="*/ 1702231 h 4504080"/>
              <a:gd name="connsiteX103" fmla="*/ 0 w 11199600"/>
              <a:gd name="connsiteY103" fmla="*/ 1684984 h 4504080"/>
              <a:gd name="connsiteX104" fmla="*/ 0 w 11199600"/>
              <a:gd name="connsiteY104" fmla="*/ 1626118 h 4504080"/>
              <a:gd name="connsiteX105" fmla="*/ 0 w 11199600"/>
              <a:gd name="connsiteY105" fmla="*/ 1592418 h 4504080"/>
              <a:gd name="connsiteX106" fmla="*/ 0 w 11199600"/>
              <a:gd name="connsiteY106" fmla="*/ 1529519 h 4504080"/>
              <a:gd name="connsiteX107" fmla="*/ 0 w 11199600"/>
              <a:gd name="connsiteY107" fmla="*/ 1255278 h 4504080"/>
              <a:gd name="connsiteX108" fmla="*/ 0 w 11199600"/>
              <a:gd name="connsiteY108" fmla="*/ 1168307 h 4504080"/>
              <a:gd name="connsiteX109" fmla="*/ 0 w 11199600"/>
              <a:gd name="connsiteY109" fmla="*/ 894067 h 4504080"/>
              <a:gd name="connsiteX110" fmla="*/ 0 w 11199600"/>
              <a:gd name="connsiteY110" fmla="*/ 782195 h 4504080"/>
              <a:gd name="connsiteX111" fmla="*/ 0 w 11199600"/>
              <a:gd name="connsiteY111" fmla="*/ 507955 h 4504080"/>
              <a:gd name="connsiteX112" fmla="*/ 0 w 11199600"/>
              <a:gd name="connsiteY112" fmla="*/ 370350 h 4504080"/>
              <a:gd name="connsiteX113" fmla="*/ 0 w 11199600"/>
              <a:gd name="connsiteY113" fmla="*/ 96110 h 4504080"/>
              <a:gd name="connsiteX114" fmla="*/ 95997 w 11199600"/>
              <a:gd name="connsiteY114" fmla="*/ 0 h 4504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11199600" h="4504080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26118"/>
                </a:lnTo>
                <a:lnTo>
                  <a:pt x="11199600" y="1651536"/>
                </a:lnTo>
                <a:lnTo>
                  <a:pt x="11199600" y="1762133"/>
                </a:lnTo>
                <a:lnTo>
                  <a:pt x="11199600" y="1779318"/>
                </a:lnTo>
                <a:lnTo>
                  <a:pt x="11199600" y="1787219"/>
                </a:lnTo>
                <a:lnTo>
                  <a:pt x="11199600" y="1843417"/>
                </a:lnTo>
                <a:lnTo>
                  <a:pt x="11199600" y="1984894"/>
                </a:lnTo>
                <a:lnTo>
                  <a:pt x="11199600" y="2032038"/>
                </a:lnTo>
                <a:lnTo>
                  <a:pt x="11199600" y="2036373"/>
                </a:lnTo>
                <a:cubicBezTo>
                  <a:pt x="11199600" y="2122837"/>
                  <a:pt x="11199600" y="2212759"/>
                  <a:pt x="11199600" y="2306279"/>
                </a:cubicBezTo>
                <a:lnTo>
                  <a:pt x="11199600" y="2323525"/>
                </a:lnTo>
                <a:lnTo>
                  <a:pt x="11199600" y="2597765"/>
                </a:lnTo>
                <a:lnTo>
                  <a:pt x="11199600" y="2637423"/>
                </a:lnTo>
                <a:lnTo>
                  <a:pt x="11199600" y="2911664"/>
                </a:lnTo>
                <a:lnTo>
                  <a:pt x="11199600" y="2974563"/>
                </a:lnTo>
                <a:lnTo>
                  <a:pt x="11199600" y="3248803"/>
                </a:lnTo>
                <a:lnTo>
                  <a:pt x="11199600" y="3335774"/>
                </a:lnTo>
                <a:lnTo>
                  <a:pt x="11199600" y="3610014"/>
                </a:lnTo>
                <a:lnTo>
                  <a:pt x="11199600" y="3721887"/>
                </a:lnTo>
                <a:lnTo>
                  <a:pt x="11199600" y="3996127"/>
                </a:lnTo>
                <a:lnTo>
                  <a:pt x="11199600" y="4133731"/>
                </a:lnTo>
                <a:lnTo>
                  <a:pt x="11199600" y="4407971"/>
                </a:lnTo>
                <a:cubicBezTo>
                  <a:pt x="11199600" y="4480054"/>
                  <a:pt x="11145602" y="4498074"/>
                  <a:pt x="11118603" y="4502580"/>
                </a:cubicBezTo>
                <a:lnTo>
                  <a:pt x="11103613" y="4504080"/>
                </a:lnTo>
                <a:lnTo>
                  <a:pt x="95989" y="4504080"/>
                </a:lnTo>
                <a:lnTo>
                  <a:pt x="64311" y="4499952"/>
                </a:lnTo>
                <a:cubicBezTo>
                  <a:pt x="0" y="4481555"/>
                  <a:pt x="0" y="4407971"/>
                  <a:pt x="0" y="4407971"/>
                </a:cubicBezTo>
                <a:lnTo>
                  <a:pt x="0" y="4404236"/>
                </a:lnTo>
                <a:lnTo>
                  <a:pt x="0" y="4395365"/>
                </a:lnTo>
                <a:lnTo>
                  <a:pt x="0" y="4378089"/>
                </a:lnTo>
                <a:lnTo>
                  <a:pt x="0" y="4349608"/>
                </a:lnTo>
                <a:lnTo>
                  <a:pt x="0" y="4307120"/>
                </a:lnTo>
                <a:lnTo>
                  <a:pt x="0" y="4247823"/>
                </a:lnTo>
                <a:lnTo>
                  <a:pt x="0" y="4168916"/>
                </a:lnTo>
                <a:lnTo>
                  <a:pt x="0" y="4133731"/>
                </a:lnTo>
                <a:lnTo>
                  <a:pt x="0" y="4132625"/>
                </a:lnTo>
                <a:lnTo>
                  <a:pt x="0" y="4124877"/>
                </a:lnTo>
                <a:lnTo>
                  <a:pt x="0" y="4104034"/>
                </a:lnTo>
                <a:lnTo>
                  <a:pt x="0" y="4103849"/>
                </a:lnTo>
                <a:lnTo>
                  <a:pt x="0" y="4062900"/>
                </a:lnTo>
                <a:lnTo>
                  <a:pt x="0" y="4032880"/>
                </a:lnTo>
                <a:lnTo>
                  <a:pt x="0" y="4028361"/>
                </a:lnTo>
                <a:lnTo>
                  <a:pt x="0" y="3995389"/>
                </a:lnTo>
                <a:lnTo>
                  <a:pt x="0" y="3949598"/>
                </a:lnTo>
                <a:lnTo>
                  <a:pt x="0" y="3941067"/>
                </a:lnTo>
                <a:lnTo>
                  <a:pt x="0" y="3894676"/>
                </a:lnTo>
                <a:lnTo>
                  <a:pt x="0" y="3841322"/>
                </a:lnTo>
                <a:lnTo>
                  <a:pt x="0" y="3829794"/>
                </a:lnTo>
                <a:lnTo>
                  <a:pt x="0" y="3754121"/>
                </a:lnTo>
                <a:lnTo>
                  <a:pt x="0" y="3728297"/>
                </a:lnTo>
                <a:lnTo>
                  <a:pt x="0" y="3666827"/>
                </a:lnTo>
                <a:lnTo>
                  <a:pt x="0" y="3601160"/>
                </a:lnTo>
                <a:lnTo>
                  <a:pt x="0" y="3567082"/>
                </a:lnTo>
                <a:lnTo>
                  <a:pt x="0" y="3459083"/>
                </a:lnTo>
                <a:lnTo>
                  <a:pt x="0" y="3454057"/>
                </a:lnTo>
                <a:lnTo>
                  <a:pt x="0" y="3326920"/>
                </a:lnTo>
                <a:lnTo>
                  <a:pt x="0" y="3301235"/>
                </a:lnTo>
                <a:lnTo>
                  <a:pt x="0" y="3184843"/>
                </a:lnTo>
                <a:lnTo>
                  <a:pt x="0" y="3126785"/>
                </a:lnTo>
                <a:lnTo>
                  <a:pt x="0" y="3026995"/>
                </a:lnTo>
                <a:lnTo>
                  <a:pt x="0" y="2934905"/>
                </a:lnTo>
                <a:lnTo>
                  <a:pt x="0" y="2852545"/>
                </a:lnTo>
                <a:lnTo>
                  <a:pt x="0" y="2724763"/>
                </a:lnTo>
                <a:lnTo>
                  <a:pt x="0" y="2660665"/>
                </a:lnTo>
                <a:lnTo>
                  <a:pt x="0" y="2495530"/>
                </a:lnTo>
                <a:lnTo>
                  <a:pt x="0" y="2450523"/>
                </a:lnTo>
                <a:lnTo>
                  <a:pt x="0" y="2246376"/>
                </a:lnTo>
                <a:lnTo>
                  <a:pt x="0" y="2221290"/>
                </a:lnTo>
                <a:lnTo>
                  <a:pt x="0" y="1984894"/>
                </a:lnTo>
                <a:lnTo>
                  <a:pt x="0" y="1976471"/>
                </a:lnTo>
                <a:lnTo>
                  <a:pt x="0" y="197213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702231"/>
                </a:lnTo>
                <a:lnTo>
                  <a:pt x="0" y="1684984"/>
                </a:lnTo>
                <a:lnTo>
                  <a:pt x="0" y="162611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681038" y="257725"/>
            <a:ext cx="8985697" cy="11798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ts val="4600"/>
              </a:lnSpc>
              <a:defRPr sz="4600"/>
            </a:lvl1pPr>
          </a:lstStyle>
          <a:p>
            <a:r>
              <a:rPr lang="en-US" noProof="0" smtClean="0"/>
              <a:t>Click to edit </a:t>
            </a:r>
            <a:br>
              <a:rPr lang="en-US" noProof="0" smtClean="0"/>
            </a:br>
            <a:r>
              <a:rPr lang="en-US" noProof="0" smtClean="0"/>
              <a:t>Master title style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26350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02" userDrawn="1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278384"/>
            <a:ext cx="4110234" cy="4921200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4"/>
            <a:ext cx="4109625" cy="492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234349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7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66734856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278000"/>
            <a:ext cx="4110234" cy="4929584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28531874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000"/>
            <a:ext cx="4109625" cy="49295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7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37136270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23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859" y="1278003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4" name="Text Placeholder 2"/>
          <p:cNvSpPr>
            <a:spLocks noGrp="1"/>
          </p:cNvSpPr>
          <p:nvPr>
            <p:ph idx="28"/>
          </p:nvPr>
        </p:nvSpPr>
        <p:spPr bwMode="gray">
          <a:xfrm>
            <a:off x="687030" y="1278003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5" name="Content Placeholder 3"/>
          <p:cNvSpPr>
            <a:spLocks noGrp="1"/>
          </p:cNvSpPr>
          <p:nvPr>
            <p:ph sz="half" idx="29"/>
          </p:nvPr>
        </p:nvSpPr>
        <p:spPr bwMode="gray">
          <a:xfrm>
            <a:off x="5099859" y="3877594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6" name="Text Placeholder 2"/>
          <p:cNvSpPr>
            <a:spLocks noGrp="1"/>
          </p:cNvSpPr>
          <p:nvPr>
            <p:ph idx="30"/>
          </p:nvPr>
        </p:nvSpPr>
        <p:spPr bwMode="gray">
          <a:xfrm>
            <a:off x="687030" y="3877594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20684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 userDrawn="1">
          <p15:clr>
            <a:srgbClr val="FBAE40"/>
          </p15:clr>
        </p15:guide>
        <p15:guide id="0" pos="3948" userDrawn="1">
          <p15:clr>
            <a:srgbClr val="FBAE40"/>
          </p15:clr>
        </p15:guide>
        <p15:guide id="2" orient="horz" pos="2274" userDrawn="1">
          <p15:clr>
            <a:srgbClr val="FBAE40"/>
          </p15:clr>
        </p15:guide>
        <p15:guide id="3" orient="horz" pos="2442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Group 65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67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67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5" name="Picture Placeholder 64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/>
              <a:t>Max.</a:t>
            </a:r>
            <a:r>
              <a:rPr lang="en-GB" sz="1000" baseline="0" smtClean="0"/>
              <a:t> width</a:t>
            </a:r>
            <a:endParaRPr lang="en-GB" sz="1000" smtClean="0"/>
          </a:p>
        </p:txBody>
      </p:sp>
      <p:sp>
        <p:nvSpPr>
          <p:cNvPr id="23" name="TextBox 22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ax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Group 76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78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9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0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1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2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3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4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5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6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7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8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89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0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1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2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3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4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5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6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7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8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1" name="Picture 4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25105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3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1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10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4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2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10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339040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591" userDrawn="1">
          <p15:clr>
            <a:srgbClr val="FBAE40"/>
          </p15:clr>
        </p15:guide>
        <p15:guide id="2" pos="2808" userDrawn="1">
          <p15:clr>
            <a:srgbClr val="FBAE40"/>
          </p15:clr>
        </p15:guide>
        <p15:guide id="3" pos="4866" userDrawn="1">
          <p15:clr>
            <a:srgbClr val="FBAE40"/>
          </p15:clr>
        </p15:guide>
        <p15:guide id="4" pos="5082" userDrawn="1">
          <p15:clr>
            <a:srgbClr val="FBAE40"/>
          </p15:clr>
        </p15:guide>
        <p15:guide id="5" orient="horz" pos="2274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3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1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10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4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2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10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265297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622311" y="1277985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6556510" y="1277985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9238023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2808">
          <p15:clr>
            <a:srgbClr val="FBAE40"/>
          </p15:clr>
        </p15:guide>
        <p15:guide id="3" pos="4866">
          <p15:clr>
            <a:srgbClr val="FBAE40"/>
          </p15:clr>
        </p15:guide>
        <p15:guide id="4" pos="5082">
          <p15:clr>
            <a:srgbClr val="FBAE40"/>
          </p15:clr>
        </p15:guide>
        <p15:guide id="5" orient="horz" pos="2830" userDrawn="1">
          <p15:clr>
            <a:srgbClr val="FBAE40"/>
          </p15:clr>
        </p15:guide>
        <p15:guide id="6" orient="horz" pos="2998" userDrawn="1">
          <p15:clr>
            <a:srgbClr val="FBAE40"/>
          </p15:clr>
        </p15:guide>
        <p15:guide id="7" pos="2592" userDrawn="1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lit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5099859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5099859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5099859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5099859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19" name="Straight Connector 18"/>
          <p:cNvCxnSpPr/>
          <p:nvPr userDrawn="1"/>
        </p:nvCxnSpPr>
        <p:spPr bwMode="gray">
          <a:xfrm>
            <a:off x="5099859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 bwMode="gray">
          <a:xfrm>
            <a:off x="5099859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06364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3720" userDrawn="1">
          <p15:clr>
            <a:srgbClr val="FBAE40"/>
          </p15:clr>
        </p15:guide>
        <p15:guide id="3" pos="3953" userDrawn="1">
          <p15:clr>
            <a:srgbClr val="FBAE40"/>
          </p15:clr>
        </p15:guide>
        <p15:guide id="4" orient="horz" pos="2274" userDrawn="1">
          <p15:clr>
            <a:srgbClr val="FBAE40"/>
          </p15:clr>
        </p15:guide>
        <p15:guide id="5" orient="horz" pos="2442" userDrawn="1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6556510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1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556510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556510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3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556510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44" name="Straight Connector 43"/>
          <p:cNvCxnSpPr/>
          <p:nvPr userDrawn="1"/>
        </p:nvCxnSpPr>
        <p:spPr bwMode="gray">
          <a:xfrm>
            <a:off x="6556510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 bwMode="gray">
          <a:xfrm>
            <a:off x="6556510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3621769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7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3621769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8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3621769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9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3621769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0" name="Straight Connector 49"/>
          <p:cNvCxnSpPr/>
          <p:nvPr userDrawn="1"/>
        </p:nvCxnSpPr>
        <p:spPr bwMode="gray">
          <a:xfrm>
            <a:off x="3621769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 bwMode="gray">
          <a:xfrm>
            <a:off x="3621769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12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208915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2592" userDrawn="1">
          <p15:clr>
            <a:srgbClr val="FBAE40"/>
          </p15:clr>
        </p15:guide>
        <p15:guide id="3" pos="5082" userDrawn="1">
          <p15:clr>
            <a:srgbClr val="FBAE40"/>
          </p15:clr>
        </p15:guide>
        <p15:guide id="4" pos="2803" userDrawn="1">
          <p15:clr>
            <a:srgbClr val="FBAE40"/>
          </p15:clr>
        </p15:guide>
        <p15:guide id="5" pos="4866" userDrawn="1">
          <p15:clr>
            <a:srgbClr val="FBAE40"/>
          </p15:clr>
        </p15:guide>
        <p15:guide id="6" orient="horz" pos="2274" userDrawn="1">
          <p15:clr>
            <a:srgbClr val="FBAE40"/>
          </p15:clr>
        </p15:guide>
        <p15:guide id="7" orient="horz" pos="2442" userDrawn="1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835598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2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2835598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3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2835598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4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2835598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5" name="Straight Connector 54"/>
          <p:cNvCxnSpPr/>
          <p:nvPr userDrawn="1"/>
        </p:nvCxnSpPr>
        <p:spPr bwMode="gray">
          <a:xfrm>
            <a:off x="2835598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 userDrawn="1"/>
        </p:nvCxnSpPr>
        <p:spPr bwMode="gray">
          <a:xfrm>
            <a:off x="2835598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4984166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8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4984166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9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4984166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0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4984166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1" name="Straight Connector 60"/>
          <p:cNvCxnSpPr/>
          <p:nvPr userDrawn="1"/>
        </p:nvCxnSpPr>
        <p:spPr bwMode="gray">
          <a:xfrm>
            <a:off x="4984166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 userDrawn="1"/>
        </p:nvCxnSpPr>
        <p:spPr bwMode="gray">
          <a:xfrm>
            <a:off x="4984166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Content Placeholder 2"/>
          <p:cNvSpPr>
            <a:spLocks noGrp="1"/>
          </p:cNvSpPr>
          <p:nvPr>
            <p:ph idx="30" hasCustomPrompt="1"/>
          </p:nvPr>
        </p:nvSpPr>
        <p:spPr bwMode="gray">
          <a:xfrm>
            <a:off x="7132734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4" name="Content Placeholder 2"/>
          <p:cNvSpPr>
            <a:spLocks noGrp="1"/>
          </p:cNvSpPr>
          <p:nvPr>
            <p:ph idx="31" hasCustomPrompt="1"/>
          </p:nvPr>
        </p:nvSpPr>
        <p:spPr bwMode="gray">
          <a:xfrm>
            <a:off x="7132734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65" name="Content Placeholder 2"/>
          <p:cNvSpPr>
            <a:spLocks noGrp="1"/>
          </p:cNvSpPr>
          <p:nvPr>
            <p:ph idx="32" hasCustomPrompt="1"/>
          </p:nvPr>
        </p:nvSpPr>
        <p:spPr bwMode="gray">
          <a:xfrm>
            <a:off x="7132734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6" name="Content Placeholder 2"/>
          <p:cNvSpPr>
            <a:spLocks noGrp="1"/>
          </p:cNvSpPr>
          <p:nvPr>
            <p:ph idx="33" hasCustomPrompt="1"/>
          </p:nvPr>
        </p:nvSpPr>
        <p:spPr bwMode="gray">
          <a:xfrm>
            <a:off x="7132734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7" name="Straight Connector 66"/>
          <p:cNvCxnSpPr/>
          <p:nvPr userDrawn="1"/>
        </p:nvCxnSpPr>
        <p:spPr bwMode="gray">
          <a:xfrm>
            <a:off x="7132734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 userDrawn="1"/>
        </p:nvCxnSpPr>
        <p:spPr bwMode="gray">
          <a:xfrm>
            <a:off x="7132734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793550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2149" userDrawn="1">
          <p15:clr>
            <a:srgbClr val="FBAE40"/>
          </p15:clr>
        </p15:guide>
        <p15:guide id="4" pos="5480" userDrawn="1">
          <p15:clr>
            <a:srgbClr val="FBAE40"/>
          </p15:clr>
        </p15:guide>
        <p15:guide id="5" pos="3864" userDrawn="1">
          <p15:clr>
            <a:srgbClr val="FBAE40"/>
          </p15:clr>
        </p15:guide>
        <p15:guide id="6" pos="2196" userDrawn="1">
          <p15:clr>
            <a:srgbClr val="FBAE40"/>
          </p15:clr>
        </p15:guide>
        <p15:guide id="7" pos="3809" userDrawn="1">
          <p15:clr>
            <a:srgbClr val="FBAE40"/>
          </p15:clr>
        </p15:guide>
        <p15:guide id="8" pos="5528" userDrawn="1">
          <p15:clr>
            <a:srgbClr val="FBAE40"/>
          </p15:clr>
        </p15:guide>
        <p15:guide id="9" orient="horz" pos="2274" userDrawn="1">
          <p15:clr>
            <a:srgbClr val="FBAE40"/>
          </p15:clr>
        </p15:guide>
        <p15:guide id="10" orient="horz" pos="2442" userDrawn="1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3694867" y="1270000"/>
            <a:ext cx="5514620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6"/>
          </p:nvPr>
        </p:nvSpPr>
        <p:spPr bwMode="gray">
          <a:xfrm>
            <a:off x="563663" y="280732"/>
            <a:ext cx="2797671" cy="5920066"/>
          </a:xfrm>
          <a:custGeom>
            <a:avLst/>
            <a:gdLst>
              <a:gd name="connsiteX0" fmla="*/ 95997 w 3443287"/>
              <a:gd name="connsiteY0" fmla="*/ 0 h 5920066"/>
              <a:gd name="connsiteX1" fmla="*/ 3443287 w 3443287"/>
              <a:gd name="connsiteY1" fmla="*/ 0 h 5920066"/>
              <a:gd name="connsiteX2" fmla="*/ 3443287 w 3443287"/>
              <a:gd name="connsiteY2" fmla="*/ 5920066 h 5920066"/>
              <a:gd name="connsiteX3" fmla="*/ 95989 w 3443287"/>
              <a:gd name="connsiteY3" fmla="*/ 5920066 h 5920066"/>
              <a:gd name="connsiteX4" fmla="*/ 64311 w 3443287"/>
              <a:gd name="connsiteY4" fmla="*/ 5915938 h 5920066"/>
              <a:gd name="connsiteX5" fmla="*/ 0 w 3443287"/>
              <a:gd name="connsiteY5" fmla="*/ 5823957 h 5920066"/>
              <a:gd name="connsiteX6" fmla="*/ 0 w 3443287"/>
              <a:gd name="connsiteY6" fmla="*/ 5820222 h 5920066"/>
              <a:gd name="connsiteX7" fmla="*/ 0 w 3443287"/>
              <a:gd name="connsiteY7" fmla="*/ 5811351 h 5920066"/>
              <a:gd name="connsiteX8" fmla="*/ 0 w 3443287"/>
              <a:gd name="connsiteY8" fmla="*/ 5794075 h 5920066"/>
              <a:gd name="connsiteX9" fmla="*/ 0 w 3443287"/>
              <a:gd name="connsiteY9" fmla="*/ 5765594 h 5920066"/>
              <a:gd name="connsiteX10" fmla="*/ 0 w 3443287"/>
              <a:gd name="connsiteY10" fmla="*/ 5723106 h 5920066"/>
              <a:gd name="connsiteX11" fmla="*/ 0 w 3443287"/>
              <a:gd name="connsiteY11" fmla="*/ 5663809 h 5920066"/>
              <a:gd name="connsiteX12" fmla="*/ 0 w 3443287"/>
              <a:gd name="connsiteY12" fmla="*/ 5584902 h 5920066"/>
              <a:gd name="connsiteX13" fmla="*/ 0 w 3443287"/>
              <a:gd name="connsiteY13" fmla="*/ 5549717 h 5920066"/>
              <a:gd name="connsiteX14" fmla="*/ 0 w 3443287"/>
              <a:gd name="connsiteY14" fmla="*/ 5548611 h 5920066"/>
              <a:gd name="connsiteX15" fmla="*/ 0 w 3443287"/>
              <a:gd name="connsiteY15" fmla="*/ 5540863 h 5920066"/>
              <a:gd name="connsiteX16" fmla="*/ 0 w 3443287"/>
              <a:gd name="connsiteY16" fmla="*/ 5520020 h 5920066"/>
              <a:gd name="connsiteX17" fmla="*/ 0 w 3443287"/>
              <a:gd name="connsiteY17" fmla="*/ 5519835 h 5920066"/>
              <a:gd name="connsiteX18" fmla="*/ 0 w 3443287"/>
              <a:gd name="connsiteY18" fmla="*/ 5478886 h 5920066"/>
              <a:gd name="connsiteX19" fmla="*/ 0 w 3443287"/>
              <a:gd name="connsiteY19" fmla="*/ 5448866 h 5920066"/>
              <a:gd name="connsiteX20" fmla="*/ 0 w 3443287"/>
              <a:gd name="connsiteY20" fmla="*/ 5444347 h 5920066"/>
              <a:gd name="connsiteX21" fmla="*/ 0 w 3443287"/>
              <a:gd name="connsiteY21" fmla="*/ 5411375 h 5920066"/>
              <a:gd name="connsiteX22" fmla="*/ 0 w 3443287"/>
              <a:gd name="connsiteY22" fmla="*/ 5365584 h 5920066"/>
              <a:gd name="connsiteX23" fmla="*/ 0 w 3443287"/>
              <a:gd name="connsiteY23" fmla="*/ 5357053 h 5920066"/>
              <a:gd name="connsiteX24" fmla="*/ 0 w 3443287"/>
              <a:gd name="connsiteY24" fmla="*/ 5310662 h 5920066"/>
              <a:gd name="connsiteX25" fmla="*/ 0 w 3443287"/>
              <a:gd name="connsiteY25" fmla="*/ 5257308 h 5920066"/>
              <a:gd name="connsiteX26" fmla="*/ 0 w 3443287"/>
              <a:gd name="connsiteY26" fmla="*/ 5245780 h 5920066"/>
              <a:gd name="connsiteX27" fmla="*/ 0 w 3443287"/>
              <a:gd name="connsiteY27" fmla="*/ 5170107 h 5920066"/>
              <a:gd name="connsiteX28" fmla="*/ 0 w 3443287"/>
              <a:gd name="connsiteY28" fmla="*/ 5144283 h 5920066"/>
              <a:gd name="connsiteX29" fmla="*/ 0 w 3443287"/>
              <a:gd name="connsiteY29" fmla="*/ 5082813 h 5920066"/>
              <a:gd name="connsiteX30" fmla="*/ 0 w 3443287"/>
              <a:gd name="connsiteY30" fmla="*/ 5017146 h 5920066"/>
              <a:gd name="connsiteX31" fmla="*/ 0 w 3443287"/>
              <a:gd name="connsiteY31" fmla="*/ 4983068 h 5920066"/>
              <a:gd name="connsiteX32" fmla="*/ 0 w 3443287"/>
              <a:gd name="connsiteY32" fmla="*/ 4903543 h 5920066"/>
              <a:gd name="connsiteX33" fmla="*/ 0 w 3443287"/>
              <a:gd name="connsiteY33" fmla="*/ 4899808 h 5920066"/>
              <a:gd name="connsiteX34" fmla="*/ 0 w 3443287"/>
              <a:gd name="connsiteY34" fmla="*/ 4890937 h 5920066"/>
              <a:gd name="connsiteX35" fmla="*/ 0 w 3443287"/>
              <a:gd name="connsiteY35" fmla="*/ 4875069 h 5920066"/>
              <a:gd name="connsiteX36" fmla="*/ 0 w 3443287"/>
              <a:gd name="connsiteY36" fmla="*/ 4873661 h 5920066"/>
              <a:gd name="connsiteX37" fmla="*/ 0 w 3443287"/>
              <a:gd name="connsiteY37" fmla="*/ 4870043 h 5920066"/>
              <a:gd name="connsiteX38" fmla="*/ 0 w 3443287"/>
              <a:gd name="connsiteY38" fmla="*/ 4845180 h 5920066"/>
              <a:gd name="connsiteX39" fmla="*/ 0 w 3443287"/>
              <a:gd name="connsiteY39" fmla="*/ 4802692 h 5920066"/>
              <a:gd name="connsiteX40" fmla="*/ 0 w 3443287"/>
              <a:gd name="connsiteY40" fmla="*/ 4743395 h 5920066"/>
              <a:gd name="connsiteX41" fmla="*/ 0 w 3443287"/>
              <a:gd name="connsiteY41" fmla="*/ 4742906 h 5920066"/>
              <a:gd name="connsiteX42" fmla="*/ 0 w 3443287"/>
              <a:gd name="connsiteY42" fmla="*/ 4717221 h 5920066"/>
              <a:gd name="connsiteX43" fmla="*/ 0 w 3443287"/>
              <a:gd name="connsiteY43" fmla="*/ 4664488 h 5920066"/>
              <a:gd name="connsiteX44" fmla="*/ 0 w 3443287"/>
              <a:gd name="connsiteY44" fmla="*/ 4629303 h 5920066"/>
              <a:gd name="connsiteX45" fmla="*/ 0 w 3443287"/>
              <a:gd name="connsiteY45" fmla="*/ 4628197 h 5920066"/>
              <a:gd name="connsiteX46" fmla="*/ 0 w 3443287"/>
              <a:gd name="connsiteY46" fmla="*/ 4620449 h 5920066"/>
              <a:gd name="connsiteX47" fmla="*/ 0 w 3443287"/>
              <a:gd name="connsiteY47" fmla="*/ 4600829 h 5920066"/>
              <a:gd name="connsiteX48" fmla="*/ 0 w 3443287"/>
              <a:gd name="connsiteY48" fmla="*/ 4599606 h 5920066"/>
              <a:gd name="connsiteX49" fmla="*/ 0 w 3443287"/>
              <a:gd name="connsiteY49" fmla="*/ 4599421 h 5920066"/>
              <a:gd name="connsiteX50" fmla="*/ 0 w 3443287"/>
              <a:gd name="connsiteY50" fmla="*/ 4558472 h 5920066"/>
              <a:gd name="connsiteX51" fmla="*/ 0 w 3443287"/>
              <a:gd name="connsiteY51" fmla="*/ 4542771 h 5920066"/>
              <a:gd name="connsiteX52" fmla="*/ 0 w 3443287"/>
              <a:gd name="connsiteY52" fmla="*/ 4528452 h 5920066"/>
              <a:gd name="connsiteX53" fmla="*/ 0 w 3443287"/>
              <a:gd name="connsiteY53" fmla="*/ 4523933 h 5920066"/>
              <a:gd name="connsiteX54" fmla="*/ 0 w 3443287"/>
              <a:gd name="connsiteY54" fmla="*/ 4490961 h 5920066"/>
              <a:gd name="connsiteX55" fmla="*/ 0 w 3443287"/>
              <a:gd name="connsiteY55" fmla="*/ 4445170 h 5920066"/>
              <a:gd name="connsiteX56" fmla="*/ 0 w 3443287"/>
              <a:gd name="connsiteY56" fmla="*/ 4442981 h 5920066"/>
              <a:gd name="connsiteX57" fmla="*/ 0 w 3443287"/>
              <a:gd name="connsiteY57" fmla="*/ 4436639 h 5920066"/>
              <a:gd name="connsiteX58" fmla="*/ 0 w 3443287"/>
              <a:gd name="connsiteY58" fmla="*/ 4390248 h 5920066"/>
              <a:gd name="connsiteX59" fmla="*/ 0 w 3443287"/>
              <a:gd name="connsiteY59" fmla="*/ 4350891 h 5920066"/>
              <a:gd name="connsiteX60" fmla="*/ 0 w 3443287"/>
              <a:gd name="connsiteY60" fmla="*/ 4336894 h 5920066"/>
              <a:gd name="connsiteX61" fmla="*/ 0 w 3443287"/>
              <a:gd name="connsiteY61" fmla="*/ 4325366 h 5920066"/>
              <a:gd name="connsiteX62" fmla="*/ 0 w 3443287"/>
              <a:gd name="connsiteY62" fmla="*/ 4268531 h 5920066"/>
              <a:gd name="connsiteX63" fmla="*/ 0 w 3443287"/>
              <a:gd name="connsiteY63" fmla="*/ 4249693 h 5920066"/>
              <a:gd name="connsiteX64" fmla="*/ 0 w 3443287"/>
              <a:gd name="connsiteY64" fmla="*/ 4223869 h 5920066"/>
              <a:gd name="connsiteX65" fmla="*/ 0 w 3443287"/>
              <a:gd name="connsiteY65" fmla="*/ 4162399 h 5920066"/>
              <a:gd name="connsiteX66" fmla="*/ 0 w 3443287"/>
              <a:gd name="connsiteY66" fmla="*/ 4140749 h 5920066"/>
              <a:gd name="connsiteX67" fmla="*/ 0 w 3443287"/>
              <a:gd name="connsiteY67" fmla="*/ 4096732 h 5920066"/>
              <a:gd name="connsiteX68" fmla="*/ 0 w 3443287"/>
              <a:gd name="connsiteY68" fmla="*/ 4076651 h 5920066"/>
              <a:gd name="connsiteX69" fmla="*/ 0 w 3443287"/>
              <a:gd name="connsiteY69" fmla="*/ 4062654 h 5920066"/>
              <a:gd name="connsiteX70" fmla="*/ 0 w 3443287"/>
              <a:gd name="connsiteY70" fmla="*/ 3954655 h 5920066"/>
              <a:gd name="connsiteX71" fmla="*/ 0 w 3443287"/>
              <a:gd name="connsiteY71" fmla="*/ 3949629 h 5920066"/>
              <a:gd name="connsiteX72" fmla="*/ 0 w 3443287"/>
              <a:gd name="connsiteY72" fmla="*/ 3911516 h 5920066"/>
              <a:gd name="connsiteX73" fmla="*/ 0 w 3443287"/>
              <a:gd name="connsiteY73" fmla="*/ 3866509 h 5920066"/>
              <a:gd name="connsiteX74" fmla="*/ 0 w 3443287"/>
              <a:gd name="connsiteY74" fmla="*/ 3822492 h 5920066"/>
              <a:gd name="connsiteX75" fmla="*/ 0 w 3443287"/>
              <a:gd name="connsiteY75" fmla="*/ 3796807 h 5920066"/>
              <a:gd name="connsiteX76" fmla="*/ 0 w 3443287"/>
              <a:gd name="connsiteY76" fmla="*/ 3680415 h 5920066"/>
              <a:gd name="connsiteX77" fmla="*/ 0 w 3443287"/>
              <a:gd name="connsiteY77" fmla="*/ 3662362 h 5920066"/>
              <a:gd name="connsiteX78" fmla="*/ 0 w 3443287"/>
              <a:gd name="connsiteY78" fmla="*/ 3637276 h 5920066"/>
              <a:gd name="connsiteX79" fmla="*/ 0 w 3443287"/>
              <a:gd name="connsiteY79" fmla="*/ 3622357 h 5920066"/>
              <a:gd name="connsiteX80" fmla="*/ 0 w 3443287"/>
              <a:gd name="connsiteY80" fmla="*/ 3522567 h 5920066"/>
              <a:gd name="connsiteX81" fmla="*/ 0 w 3443287"/>
              <a:gd name="connsiteY81" fmla="*/ 3430477 h 5920066"/>
              <a:gd name="connsiteX82" fmla="*/ 0 w 3443287"/>
              <a:gd name="connsiteY82" fmla="*/ 3392457 h 5920066"/>
              <a:gd name="connsiteX83" fmla="*/ 0 w 3443287"/>
              <a:gd name="connsiteY83" fmla="*/ 3388122 h 5920066"/>
              <a:gd name="connsiteX84" fmla="*/ 0 w 3443287"/>
              <a:gd name="connsiteY84" fmla="*/ 3348117 h 5920066"/>
              <a:gd name="connsiteX85" fmla="*/ 0 w 3443287"/>
              <a:gd name="connsiteY85" fmla="*/ 3220335 h 5920066"/>
              <a:gd name="connsiteX86" fmla="*/ 0 w 3443287"/>
              <a:gd name="connsiteY86" fmla="*/ 3156237 h 5920066"/>
              <a:gd name="connsiteX87" fmla="*/ 0 w 3443287"/>
              <a:gd name="connsiteY87" fmla="*/ 3118217 h 5920066"/>
              <a:gd name="connsiteX88" fmla="*/ 0 w 3443287"/>
              <a:gd name="connsiteY88" fmla="*/ 3100970 h 5920066"/>
              <a:gd name="connsiteX89" fmla="*/ 0 w 3443287"/>
              <a:gd name="connsiteY89" fmla="*/ 2991102 h 5920066"/>
              <a:gd name="connsiteX90" fmla="*/ 0 w 3443287"/>
              <a:gd name="connsiteY90" fmla="*/ 2946095 h 5920066"/>
              <a:gd name="connsiteX91" fmla="*/ 0 w 3443287"/>
              <a:gd name="connsiteY91" fmla="*/ 2826730 h 5920066"/>
              <a:gd name="connsiteX92" fmla="*/ 0 w 3443287"/>
              <a:gd name="connsiteY92" fmla="*/ 2787072 h 5920066"/>
              <a:gd name="connsiteX93" fmla="*/ 0 w 3443287"/>
              <a:gd name="connsiteY93" fmla="*/ 2741948 h 5920066"/>
              <a:gd name="connsiteX94" fmla="*/ 0 w 3443287"/>
              <a:gd name="connsiteY94" fmla="*/ 2716862 h 5920066"/>
              <a:gd name="connsiteX95" fmla="*/ 0 w 3443287"/>
              <a:gd name="connsiteY95" fmla="*/ 2512832 h 5920066"/>
              <a:gd name="connsiteX96" fmla="*/ 0 w 3443287"/>
              <a:gd name="connsiteY96" fmla="*/ 2472043 h 5920066"/>
              <a:gd name="connsiteX97" fmla="*/ 0 w 3443287"/>
              <a:gd name="connsiteY97" fmla="*/ 2467708 h 5920066"/>
              <a:gd name="connsiteX98" fmla="*/ 0 w 3443287"/>
              <a:gd name="connsiteY98" fmla="*/ 2449933 h 5920066"/>
              <a:gd name="connsiteX99" fmla="*/ 0 w 3443287"/>
              <a:gd name="connsiteY99" fmla="*/ 2197803 h 5920066"/>
              <a:gd name="connsiteX100" fmla="*/ 0 w 3443287"/>
              <a:gd name="connsiteY100" fmla="*/ 2180556 h 5920066"/>
              <a:gd name="connsiteX101" fmla="*/ 0 w 3443287"/>
              <a:gd name="connsiteY101" fmla="*/ 2175692 h 5920066"/>
              <a:gd name="connsiteX102" fmla="*/ 0 w 3443287"/>
              <a:gd name="connsiteY102" fmla="*/ 2088721 h 5920066"/>
              <a:gd name="connsiteX103" fmla="*/ 0 w 3443287"/>
              <a:gd name="connsiteY103" fmla="*/ 1906316 h 5920066"/>
              <a:gd name="connsiteX104" fmla="*/ 0 w 3443287"/>
              <a:gd name="connsiteY104" fmla="*/ 1866658 h 5920066"/>
              <a:gd name="connsiteX105" fmla="*/ 0 w 3443287"/>
              <a:gd name="connsiteY105" fmla="*/ 1814481 h 5920066"/>
              <a:gd name="connsiteX106" fmla="*/ 0 w 3443287"/>
              <a:gd name="connsiteY106" fmla="*/ 1702609 h 5920066"/>
              <a:gd name="connsiteX107" fmla="*/ 0 w 3443287"/>
              <a:gd name="connsiteY107" fmla="*/ 1592418 h 5920066"/>
              <a:gd name="connsiteX108" fmla="*/ 0 w 3443287"/>
              <a:gd name="connsiteY108" fmla="*/ 1529519 h 5920066"/>
              <a:gd name="connsiteX109" fmla="*/ 0 w 3443287"/>
              <a:gd name="connsiteY109" fmla="*/ 1428369 h 5920066"/>
              <a:gd name="connsiteX110" fmla="*/ 0 w 3443287"/>
              <a:gd name="connsiteY110" fmla="*/ 1290764 h 5920066"/>
              <a:gd name="connsiteX111" fmla="*/ 0 w 3443287"/>
              <a:gd name="connsiteY111" fmla="*/ 1255278 h 5920066"/>
              <a:gd name="connsiteX112" fmla="*/ 0 w 3443287"/>
              <a:gd name="connsiteY112" fmla="*/ 1168307 h 5920066"/>
              <a:gd name="connsiteX113" fmla="*/ 0 w 3443287"/>
              <a:gd name="connsiteY113" fmla="*/ 1016524 h 5920066"/>
              <a:gd name="connsiteX114" fmla="*/ 0 w 3443287"/>
              <a:gd name="connsiteY114" fmla="*/ 894067 h 5920066"/>
              <a:gd name="connsiteX115" fmla="*/ 0 w 3443287"/>
              <a:gd name="connsiteY115" fmla="*/ 782195 h 5920066"/>
              <a:gd name="connsiteX116" fmla="*/ 0 w 3443287"/>
              <a:gd name="connsiteY116" fmla="*/ 507955 h 5920066"/>
              <a:gd name="connsiteX117" fmla="*/ 0 w 3443287"/>
              <a:gd name="connsiteY117" fmla="*/ 370350 h 5920066"/>
              <a:gd name="connsiteX118" fmla="*/ 0 w 3443287"/>
              <a:gd name="connsiteY118" fmla="*/ 96110 h 5920066"/>
              <a:gd name="connsiteX119" fmla="*/ 95997 w 3443287"/>
              <a:gd name="connsiteY119" fmla="*/ 0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3443287" h="5920066">
                <a:moveTo>
                  <a:pt x="95997" y="0"/>
                </a:moveTo>
                <a:lnTo>
                  <a:pt x="3443287" y="0"/>
                </a:lnTo>
                <a:lnTo>
                  <a:pt x="3443287" y="5920066"/>
                </a:lnTo>
                <a:lnTo>
                  <a:pt x="95989" y="5920066"/>
                </a:lnTo>
                <a:lnTo>
                  <a:pt x="64311" y="5915938"/>
                </a:lnTo>
                <a:cubicBezTo>
                  <a:pt x="0" y="5897541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94866" y="280736"/>
            <a:ext cx="5514619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935238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854" userDrawn="1">
          <p15:clr>
            <a:srgbClr val="FBAE40"/>
          </p15:clr>
        </p15:guide>
        <p15:guide id="2" pos="2610" userDrawn="1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1038" y="1270000"/>
            <a:ext cx="5513625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/>
          </p:nvPr>
        </p:nvSpPr>
        <p:spPr bwMode="gray">
          <a:xfrm>
            <a:off x="6869063" y="280732"/>
            <a:ext cx="2796853" cy="5920066"/>
          </a:xfrm>
          <a:custGeom>
            <a:avLst/>
            <a:gdLst>
              <a:gd name="connsiteX0" fmla="*/ 0 w 3442280"/>
              <a:gd name="connsiteY0" fmla="*/ 0 h 5920066"/>
              <a:gd name="connsiteX1" fmla="*/ 3346283 w 3442280"/>
              <a:gd name="connsiteY1" fmla="*/ 0 h 5920066"/>
              <a:gd name="connsiteX2" fmla="*/ 3442280 w 3442280"/>
              <a:gd name="connsiteY2" fmla="*/ 96110 h 5920066"/>
              <a:gd name="connsiteX3" fmla="*/ 3442280 w 3442280"/>
              <a:gd name="connsiteY3" fmla="*/ 335165 h 5920066"/>
              <a:gd name="connsiteX4" fmla="*/ 3442280 w 3442280"/>
              <a:gd name="connsiteY4" fmla="*/ 370350 h 5920066"/>
              <a:gd name="connsiteX5" fmla="*/ 3442280 w 3442280"/>
              <a:gd name="connsiteY5" fmla="*/ 379204 h 5920066"/>
              <a:gd name="connsiteX6" fmla="*/ 3442280 w 3442280"/>
              <a:gd name="connsiteY6" fmla="*/ 400048 h 5920066"/>
              <a:gd name="connsiteX7" fmla="*/ 3442280 w 3442280"/>
              <a:gd name="connsiteY7" fmla="*/ 400232 h 5920066"/>
              <a:gd name="connsiteX8" fmla="*/ 3442280 w 3442280"/>
              <a:gd name="connsiteY8" fmla="*/ 471202 h 5920066"/>
              <a:gd name="connsiteX9" fmla="*/ 3442280 w 3442280"/>
              <a:gd name="connsiteY9" fmla="*/ 475721 h 5920066"/>
              <a:gd name="connsiteX10" fmla="*/ 3442280 w 3442280"/>
              <a:gd name="connsiteY10" fmla="*/ 508692 h 5920066"/>
              <a:gd name="connsiteX11" fmla="*/ 3442280 w 3442280"/>
              <a:gd name="connsiteY11" fmla="*/ 554484 h 5920066"/>
              <a:gd name="connsiteX12" fmla="*/ 3442280 w 3442280"/>
              <a:gd name="connsiteY12" fmla="*/ 563015 h 5920066"/>
              <a:gd name="connsiteX13" fmla="*/ 3442280 w 3442280"/>
              <a:gd name="connsiteY13" fmla="*/ 609405 h 5920066"/>
              <a:gd name="connsiteX14" fmla="*/ 3442280 w 3442280"/>
              <a:gd name="connsiteY14" fmla="*/ 662759 h 5920066"/>
              <a:gd name="connsiteX15" fmla="*/ 3442280 w 3442280"/>
              <a:gd name="connsiteY15" fmla="*/ 674288 h 5920066"/>
              <a:gd name="connsiteX16" fmla="*/ 3442280 w 3442280"/>
              <a:gd name="connsiteY16" fmla="*/ 749961 h 5920066"/>
              <a:gd name="connsiteX17" fmla="*/ 3442280 w 3442280"/>
              <a:gd name="connsiteY17" fmla="*/ 775785 h 5920066"/>
              <a:gd name="connsiteX18" fmla="*/ 3442280 w 3442280"/>
              <a:gd name="connsiteY18" fmla="*/ 837255 h 5920066"/>
              <a:gd name="connsiteX19" fmla="*/ 3442280 w 3442280"/>
              <a:gd name="connsiteY19" fmla="*/ 902921 h 5920066"/>
              <a:gd name="connsiteX20" fmla="*/ 3442280 w 3442280"/>
              <a:gd name="connsiteY20" fmla="*/ 936999 h 5920066"/>
              <a:gd name="connsiteX21" fmla="*/ 3442280 w 3442280"/>
              <a:gd name="connsiteY21" fmla="*/ 1016524 h 5920066"/>
              <a:gd name="connsiteX22" fmla="*/ 3442280 w 3442280"/>
              <a:gd name="connsiteY22" fmla="*/ 1029131 h 5920066"/>
              <a:gd name="connsiteX23" fmla="*/ 3442280 w 3442280"/>
              <a:gd name="connsiteY23" fmla="*/ 1044999 h 5920066"/>
              <a:gd name="connsiteX24" fmla="*/ 3442280 w 3442280"/>
              <a:gd name="connsiteY24" fmla="*/ 1046406 h 5920066"/>
              <a:gd name="connsiteX25" fmla="*/ 3442280 w 3442280"/>
              <a:gd name="connsiteY25" fmla="*/ 1050025 h 5920066"/>
              <a:gd name="connsiteX26" fmla="*/ 3442280 w 3442280"/>
              <a:gd name="connsiteY26" fmla="*/ 1074887 h 5920066"/>
              <a:gd name="connsiteX27" fmla="*/ 3442280 w 3442280"/>
              <a:gd name="connsiteY27" fmla="*/ 1176672 h 5920066"/>
              <a:gd name="connsiteX28" fmla="*/ 3442280 w 3442280"/>
              <a:gd name="connsiteY28" fmla="*/ 1177161 h 5920066"/>
              <a:gd name="connsiteX29" fmla="*/ 3442280 w 3442280"/>
              <a:gd name="connsiteY29" fmla="*/ 1202847 h 5920066"/>
              <a:gd name="connsiteX30" fmla="*/ 3442280 w 3442280"/>
              <a:gd name="connsiteY30" fmla="*/ 1255579 h 5920066"/>
              <a:gd name="connsiteX31" fmla="*/ 3442280 w 3442280"/>
              <a:gd name="connsiteY31" fmla="*/ 1290764 h 5920066"/>
              <a:gd name="connsiteX32" fmla="*/ 3442280 w 3442280"/>
              <a:gd name="connsiteY32" fmla="*/ 1299618 h 5920066"/>
              <a:gd name="connsiteX33" fmla="*/ 3442280 w 3442280"/>
              <a:gd name="connsiteY33" fmla="*/ 1319239 h 5920066"/>
              <a:gd name="connsiteX34" fmla="*/ 3442280 w 3442280"/>
              <a:gd name="connsiteY34" fmla="*/ 1320462 h 5920066"/>
              <a:gd name="connsiteX35" fmla="*/ 3442280 w 3442280"/>
              <a:gd name="connsiteY35" fmla="*/ 1320646 h 5920066"/>
              <a:gd name="connsiteX36" fmla="*/ 3442280 w 3442280"/>
              <a:gd name="connsiteY36" fmla="*/ 1349128 h 5920066"/>
              <a:gd name="connsiteX37" fmla="*/ 3442280 w 3442280"/>
              <a:gd name="connsiteY37" fmla="*/ 1377296 h 5920066"/>
              <a:gd name="connsiteX38" fmla="*/ 3442280 w 3442280"/>
              <a:gd name="connsiteY38" fmla="*/ 1391616 h 5920066"/>
              <a:gd name="connsiteX39" fmla="*/ 3442280 w 3442280"/>
              <a:gd name="connsiteY39" fmla="*/ 1396135 h 5920066"/>
              <a:gd name="connsiteX40" fmla="*/ 3442280 w 3442280"/>
              <a:gd name="connsiteY40" fmla="*/ 1429106 h 5920066"/>
              <a:gd name="connsiteX41" fmla="*/ 3442280 w 3442280"/>
              <a:gd name="connsiteY41" fmla="*/ 1474898 h 5920066"/>
              <a:gd name="connsiteX42" fmla="*/ 3442280 w 3442280"/>
              <a:gd name="connsiteY42" fmla="*/ 1477087 h 5920066"/>
              <a:gd name="connsiteX43" fmla="*/ 3442280 w 3442280"/>
              <a:gd name="connsiteY43" fmla="*/ 1483429 h 5920066"/>
              <a:gd name="connsiteX44" fmla="*/ 3442280 w 3442280"/>
              <a:gd name="connsiteY44" fmla="*/ 1529819 h 5920066"/>
              <a:gd name="connsiteX45" fmla="*/ 3442280 w 3442280"/>
              <a:gd name="connsiteY45" fmla="*/ 1569177 h 5920066"/>
              <a:gd name="connsiteX46" fmla="*/ 3442280 w 3442280"/>
              <a:gd name="connsiteY46" fmla="*/ 1583173 h 5920066"/>
              <a:gd name="connsiteX47" fmla="*/ 3442280 w 3442280"/>
              <a:gd name="connsiteY47" fmla="*/ 1594702 h 5920066"/>
              <a:gd name="connsiteX48" fmla="*/ 3442280 w 3442280"/>
              <a:gd name="connsiteY48" fmla="*/ 1651536 h 5920066"/>
              <a:gd name="connsiteX49" fmla="*/ 3442280 w 3442280"/>
              <a:gd name="connsiteY49" fmla="*/ 1670375 h 5920066"/>
              <a:gd name="connsiteX50" fmla="*/ 3442280 w 3442280"/>
              <a:gd name="connsiteY50" fmla="*/ 1696199 h 5920066"/>
              <a:gd name="connsiteX51" fmla="*/ 3442280 w 3442280"/>
              <a:gd name="connsiteY51" fmla="*/ 1757669 h 5920066"/>
              <a:gd name="connsiteX52" fmla="*/ 3442280 w 3442280"/>
              <a:gd name="connsiteY52" fmla="*/ 1779318 h 5920066"/>
              <a:gd name="connsiteX53" fmla="*/ 3442280 w 3442280"/>
              <a:gd name="connsiteY53" fmla="*/ 1823335 h 5920066"/>
              <a:gd name="connsiteX54" fmla="*/ 3442280 w 3442280"/>
              <a:gd name="connsiteY54" fmla="*/ 1843417 h 5920066"/>
              <a:gd name="connsiteX55" fmla="*/ 3442280 w 3442280"/>
              <a:gd name="connsiteY55" fmla="*/ 1857413 h 5920066"/>
              <a:gd name="connsiteX56" fmla="*/ 3442280 w 3442280"/>
              <a:gd name="connsiteY56" fmla="*/ 1965413 h 5920066"/>
              <a:gd name="connsiteX57" fmla="*/ 3442280 w 3442280"/>
              <a:gd name="connsiteY57" fmla="*/ 1970439 h 5920066"/>
              <a:gd name="connsiteX58" fmla="*/ 3442280 w 3442280"/>
              <a:gd name="connsiteY58" fmla="*/ 2008551 h 5920066"/>
              <a:gd name="connsiteX59" fmla="*/ 3442280 w 3442280"/>
              <a:gd name="connsiteY59" fmla="*/ 2053558 h 5920066"/>
              <a:gd name="connsiteX60" fmla="*/ 3442280 w 3442280"/>
              <a:gd name="connsiteY60" fmla="*/ 2097575 h 5920066"/>
              <a:gd name="connsiteX61" fmla="*/ 3442280 w 3442280"/>
              <a:gd name="connsiteY61" fmla="*/ 2123261 h 5920066"/>
              <a:gd name="connsiteX62" fmla="*/ 3442280 w 3442280"/>
              <a:gd name="connsiteY62" fmla="*/ 2239653 h 5920066"/>
              <a:gd name="connsiteX63" fmla="*/ 3442280 w 3442280"/>
              <a:gd name="connsiteY63" fmla="*/ 2257705 h 5920066"/>
              <a:gd name="connsiteX64" fmla="*/ 3442280 w 3442280"/>
              <a:gd name="connsiteY64" fmla="*/ 2282791 h 5920066"/>
              <a:gd name="connsiteX65" fmla="*/ 3442280 w 3442280"/>
              <a:gd name="connsiteY65" fmla="*/ 2297710 h 5920066"/>
              <a:gd name="connsiteX66" fmla="*/ 3442280 w 3442280"/>
              <a:gd name="connsiteY66" fmla="*/ 2397501 h 5920066"/>
              <a:gd name="connsiteX67" fmla="*/ 3442280 w 3442280"/>
              <a:gd name="connsiteY67" fmla="*/ 2489591 h 5920066"/>
              <a:gd name="connsiteX68" fmla="*/ 3442280 w 3442280"/>
              <a:gd name="connsiteY68" fmla="*/ 2527610 h 5920066"/>
              <a:gd name="connsiteX69" fmla="*/ 3442280 w 3442280"/>
              <a:gd name="connsiteY69" fmla="*/ 2531945 h 5920066"/>
              <a:gd name="connsiteX70" fmla="*/ 3442280 w 3442280"/>
              <a:gd name="connsiteY70" fmla="*/ 2571950 h 5920066"/>
              <a:gd name="connsiteX71" fmla="*/ 3442280 w 3442280"/>
              <a:gd name="connsiteY71" fmla="*/ 2699732 h 5920066"/>
              <a:gd name="connsiteX72" fmla="*/ 3442280 w 3442280"/>
              <a:gd name="connsiteY72" fmla="*/ 2763831 h 5920066"/>
              <a:gd name="connsiteX73" fmla="*/ 3442280 w 3442280"/>
              <a:gd name="connsiteY73" fmla="*/ 2801851 h 5920066"/>
              <a:gd name="connsiteX74" fmla="*/ 3442280 w 3442280"/>
              <a:gd name="connsiteY74" fmla="*/ 2819097 h 5920066"/>
              <a:gd name="connsiteX75" fmla="*/ 3442280 w 3442280"/>
              <a:gd name="connsiteY75" fmla="*/ 2928965 h 5920066"/>
              <a:gd name="connsiteX76" fmla="*/ 3442280 w 3442280"/>
              <a:gd name="connsiteY76" fmla="*/ 2973972 h 5920066"/>
              <a:gd name="connsiteX77" fmla="*/ 3442280 w 3442280"/>
              <a:gd name="connsiteY77" fmla="*/ 3093337 h 5920066"/>
              <a:gd name="connsiteX78" fmla="*/ 3442280 w 3442280"/>
              <a:gd name="connsiteY78" fmla="*/ 3132995 h 5920066"/>
              <a:gd name="connsiteX79" fmla="*/ 3442280 w 3442280"/>
              <a:gd name="connsiteY79" fmla="*/ 3178119 h 5920066"/>
              <a:gd name="connsiteX80" fmla="*/ 3442280 w 3442280"/>
              <a:gd name="connsiteY80" fmla="*/ 3203205 h 5920066"/>
              <a:gd name="connsiteX81" fmla="*/ 3442280 w 3442280"/>
              <a:gd name="connsiteY81" fmla="*/ 3407236 h 5920066"/>
              <a:gd name="connsiteX82" fmla="*/ 3442280 w 3442280"/>
              <a:gd name="connsiteY82" fmla="*/ 3448024 h 5920066"/>
              <a:gd name="connsiteX83" fmla="*/ 3442280 w 3442280"/>
              <a:gd name="connsiteY83" fmla="*/ 3452359 h 5920066"/>
              <a:gd name="connsiteX84" fmla="*/ 3442280 w 3442280"/>
              <a:gd name="connsiteY84" fmla="*/ 3470135 h 5920066"/>
              <a:gd name="connsiteX85" fmla="*/ 3442280 w 3442280"/>
              <a:gd name="connsiteY85" fmla="*/ 3722265 h 5920066"/>
              <a:gd name="connsiteX86" fmla="*/ 3442280 w 3442280"/>
              <a:gd name="connsiteY86" fmla="*/ 3739511 h 5920066"/>
              <a:gd name="connsiteX87" fmla="*/ 3442280 w 3442280"/>
              <a:gd name="connsiteY87" fmla="*/ 3744375 h 5920066"/>
              <a:gd name="connsiteX88" fmla="*/ 3442280 w 3442280"/>
              <a:gd name="connsiteY88" fmla="*/ 3831346 h 5920066"/>
              <a:gd name="connsiteX89" fmla="*/ 3442280 w 3442280"/>
              <a:gd name="connsiteY89" fmla="*/ 4013751 h 5920066"/>
              <a:gd name="connsiteX90" fmla="*/ 3442280 w 3442280"/>
              <a:gd name="connsiteY90" fmla="*/ 4053409 h 5920066"/>
              <a:gd name="connsiteX91" fmla="*/ 3442280 w 3442280"/>
              <a:gd name="connsiteY91" fmla="*/ 4105586 h 5920066"/>
              <a:gd name="connsiteX92" fmla="*/ 3442280 w 3442280"/>
              <a:gd name="connsiteY92" fmla="*/ 4217459 h 5920066"/>
              <a:gd name="connsiteX93" fmla="*/ 3442280 w 3442280"/>
              <a:gd name="connsiteY93" fmla="*/ 4327650 h 5920066"/>
              <a:gd name="connsiteX94" fmla="*/ 3442280 w 3442280"/>
              <a:gd name="connsiteY94" fmla="*/ 4390549 h 5920066"/>
              <a:gd name="connsiteX95" fmla="*/ 3442280 w 3442280"/>
              <a:gd name="connsiteY95" fmla="*/ 4491699 h 5920066"/>
              <a:gd name="connsiteX96" fmla="*/ 3442280 w 3442280"/>
              <a:gd name="connsiteY96" fmla="*/ 4629303 h 5920066"/>
              <a:gd name="connsiteX97" fmla="*/ 3442280 w 3442280"/>
              <a:gd name="connsiteY97" fmla="*/ 4664789 h 5920066"/>
              <a:gd name="connsiteX98" fmla="*/ 3442280 w 3442280"/>
              <a:gd name="connsiteY98" fmla="*/ 4751760 h 5920066"/>
              <a:gd name="connsiteX99" fmla="*/ 3442280 w 3442280"/>
              <a:gd name="connsiteY99" fmla="*/ 4903543 h 5920066"/>
              <a:gd name="connsiteX100" fmla="*/ 3442280 w 3442280"/>
              <a:gd name="connsiteY100" fmla="*/ 5026000 h 5920066"/>
              <a:gd name="connsiteX101" fmla="*/ 3442280 w 3442280"/>
              <a:gd name="connsiteY101" fmla="*/ 5137873 h 5920066"/>
              <a:gd name="connsiteX102" fmla="*/ 3442280 w 3442280"/>
              <a:gd name="connsiteY102" fmla="*/ 5412113 h 5920066"/>
              <a:gd name="connsiteX103" fmla="*/ 3442280 w 3442280"/>
              <a:gd name="connsiteY103" fmla="*/ 5549717 h 5920066"/>
              <a:gd name="connsiteX104" fmla="*/ 3442280 w 3442280"/>
              <a:gd name="connsiteY104" fmla="*/ 5823957 h 5920066"/>
              <a:gd name="connsiteX105" fmla="*/ 3361283 w 3442280"/>
              <a:gd name="connsiteY105" fmla="*/ 5918566 h 5920066"/>
              <a:gd name="connsiteX106" fmla="*/ 3346294 w 3442280"/>
              <a:gd name="connsiteY106" fmla="*/ 5920066 h 5920066"/>
              <a:gd name="connsiteX107" fmla="*/ 0 w 3442280"/>
              <a:gd name="connsiteY107" fmla="*/ 5920066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3442280" h="5920066">
                <a:moveTo>
                  <a:pt x="0" y="0"/>
                </a:moveTo>
                <a:lnTo>
                  <a:pt x="3346283" y="0"/>
                </a:lnTo>
                <a:cubicBezTo>
                  <a:pt x="3442280" y="0"/>
                  <a:pt x="3442280" y="96110"/>
                  <a:pt x="3442280" y="96110"/>
                </a:cubicBezTo>
                <a:cubicBezTo>
                  <a:pt x="3442280" y="96110"/>
                  <a:pt x="3442280" y="96110"/>
                  <a:pt x="3442280" y="335165"/>
                </a:cubicBezTo>
                <a:lnTo>
                  <a:pt x="3442280" y="370350"/>
                </a:lnTo>
                <a:cubicBezTo>
                  <a:pt x="3442280" y="370350"/>
                  <a:pt x="3442280" y="370350"/>
                  <a:pt x="3442280" y="379204"/>
                </a:cubicBezTo>
                <a:lnTo>
                  <a:pt x="3442280" y="400048"/>
                </a:lnTo>
                <a:lnTo>
                  <a:pt x="3442280" y="400232"/>
                </a:lnTo>
                <a:cubicBezTo>
                  <a:pt x="3442280" y="415173"/>
                  <a:pt x="3442280" y="437585"/>
                  <a:pt x="3442280" y="471202"/>
                </a:cubicBezTo>
                <a:lnTo>
                  <a:pt x="3442280" y="475721"/>
                </a:lnTo>
                <a:lnTo>
                  <a:pt x="3442280" y="508692"/>
                </a:lnTo>
                <a:cubicBezTo>
                  <a:pt x="3442280" y="522527"/>
                  <a:pt x="3442280" y="537744"/>
                  <a:pt x="3442280" y="554484"/>
                </a:cubicBezTo>
                <a:lnTo>
                  <a:pt x="3442280" y="563015"/>
                </a:lnTo>
                <a:lnTo>
                  <a:pt x="3442280" y="609405"/>
                </a:lnTo>
                <a:lnTo>
                  <a:pt x="3442280" y="662759"/>
                </a:lnTo>
                <a:lnTo>
                  <a:pt x="3442280" y="674288"/>
                </a:lnTo>
                <a:cubicBezTo>
                  <a:pt x="3442280" y="697668"/>
                  <a:pt x="3442280" y="722846"/>
                  <a:pt x="3442280" y="749961"/>
                </a:cubicBezTo>
                <a:lnTo>
                  <a:pt x="3442280" y="775785"/>
                </a:lnTo>
                <a:lnTo>
                  <a:pt x="3442280" y="837255"/>
                </a:lnTo>
                <a:lnTo>
                  <a:pt x="3442280" y="902921"/>
                </a:lnTo>
                <a:lnTo>
                  <a:pt x="3442280" y="936999"/>
                </a:lnTo>
                <a:lnTo>
                  <a:pt x="3442280" y="1016524"/>
                </a:lnTo>
                <a:cubicBezTo>
                  <a:pt x="3442280" y="1016524"/>
                  <a:pt x="3442280" y="1016524"/>
                  <a:pt x="3442280" y="1029131"/>
                </a:cubicBezTo>
                <a:lnTo>
                  <a:pt x="3442280" y="1044999"/>
                </a:lnTo>
                <a:lnTo>
                  <a:pt x="3442280" y="1046406"/>
                </a:lnTo>
                <a:lnTo>
                  <a:pt x="3442280" y="1050025"/>
                </a:lnTo>
                <a:lnTo>
                  <a:pt x="3442280" y="1074887"/>
                </a:lnTo>
                <a:cubicBezTo>
                  <a:pt x="3442280" y="1098232"/>
                  <a:pt x="3442280" y="1130916"/>
                  <a:pt x="3442280" y="1176672"/>
                </a:cubicBezTo>
                <a:lnTo>
                  <a:pt x="3442280" y="1177161"/>
                </a:lnTo>
                <a:lnTo>
                  <a:pt x="3442280" y="1202847"/>
                </a:lnTo>
                <a:lnTo>
                  <a:pt x="3442280" y="1255579"/>
                </a:lnTo>
                <a:lnTo>
                  <a:pt x="3442280" y="1290764"/>
                </a:lnTo>
                <a:cubicBezTo>
                  <a:pt x="3442280" y="1290764"/>
                  <a:pt x="3442280" y="1290764"/>
                  <a:pt x="3442280" y="1299618"/>
                </a:cubicBezTo>
                <a:lnTo>
                  <a:pt x="3442280" y="1319239"/>
                </a:lnTo>
                <a:lnTo>
                  <a:pt x="3442280" y="1320462"/>
                </a:lnTo>
                <a:lnTo>
                  <a:pt x="3442280" y="1320646"/>
                </a:lnTo>
                <a:cubicBezTo>
                  <a:pt x="3442280" y="1328117"/>
                  <a:pt x="3442280" y="1337455"/>
                  <a:pt x="3442280" y="1349128"/>
                </a:cubicBezTo>
                <a:lnTo>
                  <a:pt x="3442280" y="1377296"/>
                </a:lnTo>
                <a:lnTo>
                  <a:pt x="3442280" y="1391616"/>
                </a:lnTo>
                <a:lnTo>
                  <a:pt x="3442280" y="1396135"/>
                </a:lnTo>
                <a:lnTo>
                  <a:pt x="3442280" y="1429106"/>
                </a:lnTo>
                <a:cubicBezTo>
                  <a:pt x="3442280" y="1442941"/>
                  <a:pt x="3442280" y="1458158"/>
                  <a:pt x="3442280" y="1474898"/>
                </a:cubicBezTo>
                <a:lnTo>
                  <a:pt x="3442280" y="1477087"/>
                </a:lnTo>
                <a:lnTo>
                  <a:pt x="3442280" y="1483429"/>
                </a:lnTo>
                <a:lnTo>
                  <a:pt x="3442280" y="1529819"/>
                </a:lnTo>
                <a:lnTo>
                  <a:pt x="3442280" y="1569177"/>
                </a:lnTo>
                <a:lnTo>
                  <a:pt x="3442280" y="1583173"/>
                </a:lnTo>
                <a:lnTo>
                  <a:pt x="3442280" y="1594702"/>
                </a:lnTo>
                <a:lnTo>
                  <a:pt x="3442280" y="1651536"/>
                </a:lnTo>
                <a:lnTo>
                  <a:pt x="3442280" y="1670375"/>
                </a:lnTo>
                <a:lnTo>
                  <a:pt x="3442280" y="1696199"/>
                </a:lnTo>
                <a:lnTo>
                  <a:pt x="3442280" y="1757669"/>
                </a:lnTo>
                <a:lnTo>
                  <a:pt x="3442280" y="1779318"/>
                </a:lnTo>
                <a:lnTo>
                  <a:pt x="3442280" y="1823335"/>
                </a:lnTo>
                <a:lnTo>
                  <a:pt x="3442280" y="1843417"/>
                </a:lnTo>
                <a:lnTo>
                  <a:pt x="3442280" y="1857413"/>
                </a:lnTo>
                <a:lnTo>
                  <a:pt x="3442280" y="1965413"/>
                </a:lnTo>
                <a:lnTo>
                  <a:pt x="3442280" y="1970439"/>
                </a:lnTo>
                <a:lnTo>
                  <a:pt x="3442280" y="2008551"/>
                </a:lnTo>
                <a:lnTo>
                  <a:pt x="3442280" y="2053558"/>
                </a:lnTo>
                <a:lnTo>
                  <a:pt x="3442280" y="2097575"/>
                </a:lnTo>
                <a:lnTo>
                  <a:pt x="3442280" y="2123261"/>
                </a:lnTo>
                <a:lnTo>
                  <a:pt x="3442280" y="2239653"/>
                </a:lnTo>
                <a:lnTo>
                  <a:pt x="3442280" y="2257705"/>
                </a:lnTo>
                <a:lnTo>
                  <a:pt x="3442280" y="2282791"/>
                </a:lnTo>
                <a:lnTo>
                  <a:pt x="3442280" y="2297710"/>
                </a:lnTo>
                <a:lnTo>
                  <a:pt x="3442280" y="2397501"/>
                </a:lnTo>
                <a:lnTo>
                  <a:pt x="3442280" y="2489591"/>
                </a:lnTo>
                <a:lnTo>
                  <a:pt x="3442280" y="2527610"/>
                </a:lnTo>
                <a:lnTo>
                  <a:pt x="3442280" y="2531945"/>
                </a:lnTo>
                <a:lnTo>
                  <a:pt x="3442280" y="2571950"/>
                </a:lnTo>
                <a:lnTo>
                  <a:pt x="3442280" y="2699732"/>
                </a:lnTo>
                <a:lnTo>
                  <a:pt x="3442280" y="2763831"/>
                </a:lnTo>
                <a:lnTo>
                  <a:pt x="3442280" y="2801851"/>
                </a:lnTo>
                <a:lnTo>
                  <a:pt x="3442280" y="2819097"/>
                </a:lnTo>
                <a:lnTo>
                  <a:pt x="3442280" y="2928965"/>
                </a:lnTo>
                <a:lnTo>
                  <a:pt x="3442280" y="2973972"/>
                </a:lnTo>
                <a:lnTo>
                  <a:pt x="3442280" y="3093337"/>
                </a:lnTo>
                <a:lnTo>
                  <a:pt x="3442280" y="3132995"/>
                </a:lnTo>
                <a:lnTo>
                  <a:pt x="3442280" y="3178119"/>
                </a:lnTo>
                <a:lnTo>
                  <a:pt x="3442280" y="3203205"/>
                </a:lnTo>
                <a:lnTo>
                  <a:pt x="3442280" y="3407236"/>
                </a:lnTo>
                <a:lnTo>
                  <a:pt x="3442280" y="3448024"/>
                </a:lnTo>
                <a:lnTo>
                  <a:pt x="3442280" y="3452359"/>
                </a:lnTo>
                <a:lnTo>
                  <a:pt x="3442280" y="3470135"/>
                </a:lnTo>
                <a:lnTo>
                  <a:pt x="3442280" y="3722265"/>
                </a:lnTo>
                <a:lnTo>
                  <a:pt x="3442280" y="3739511"/>
                </a:lnTo>
                <a:lnTo>
                  <a:pt x="3442280" y="3744375"/>
                </a:lnTo>
                <a:lnTo>
                  <a:pt x="3442280" y="3831346"/>
                </a:lnTo>
                <a:lnTo>
                  <a:pt x="3442280" y="4013751"/>
                </a:lnTo>
                <a:lnTo>
                  <a:pt x="3442280" y="4053409"/>
                </a:lnTo>
                <a:lnTo>
                  <a:pt x="3442280" y="4105586"/>
                </a:lnTo>
                <a:lnTo>
                  <a:pt x="3442280" y="4217459"/>
                </a:lnTo>
                <a:lnTo>
                  <a:pt x="3442280" y="4327650"/>
                </a:lnTo>
                <a:lnTo>
                  <a:pt x="3442280" y="4390549"/>
                </a:lnTo>
                <a:lnTo>
                  <a:pt x="3442280" y="4491699"/>
                </a:lnTo>
                <a:lnTo>
                  <a:pt x="3442280" y="4629303"/>
                </a:lnTo>
                <a:lnTo>
                  <a:pt x="3442280" y="4664789"/>
                </a:lnTo>
                <a:lnTo>
                  <a:pt x="3442280" y="4751760"/>
                </a:lnTo>
                <a:lnTo>
                  <a:pt x="3442280" y="4903543"/>
                </a:lnTo>
                <a:lnTo>
                  <a:pt x="3442280" y="5026000"/>
                </a:lnTo>
                <a:lnTo>
                  <a:pt x="3442280" y="5137873"/>
                </a:lnTo>
                <a:lnTo>
                  <a:pt x="3442280" y="5412113"/>
                </a:lnTo>
                <a:lnTo>
                  <a:pt x="3442280" y="5549717"/>
                </a:lnTo>
                <a:lnTo>
                  <a:pt x="3442280" y="5823957"/>
                </a:lnTo>
                <a:cubicBezTo>
                  <a:pt x="3442280" y="5896040"/>
                  <a:pt x="3388282" y="5914060"/>
                  <a:pt x="3361283" y="5918566"/>
                </a:cubicBezTo>
                <a:lnTo>
                  <a:pt x="3346294" y="5920066"/>
                </a:lnTo>
                <a:lnTo>
                  <a:pt x="0" y="5920066"/>
                </a:ln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7031" y="280736"/>
            <a:ext cx="5507633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45940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4806" userDrawn="1">
          <p15:clr>
            <a:srgbClr val="FBAE40"/>
          </p15:clr>
        </p15:guide>
        <p15:guide id="2" pos="5322" userDrawn="1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566241" y="1201147"/>
            <a:ext cx="9099675" cy="4999652"/>
          </a:xfrm>
          <a:custGeom>
            <a:avLst/>
            <a:gdLst>
              <a:gd name="connsiteX0" fmla="*/ 95997 w 11199600"/>
              <a:gd name="connsiteY0" fmla="*/ 0 h 4999652"/>
              <a:gd name="connsiteX1" fmla="*/ 11103603 w 11199600"/>
              <a:gd name="connsiteY1" fmla="*/ 0 h 4999652"/>
              <a:gd name="connsiteX2" fmla="*/ 11199600 w 11199600"/>
              <a:gd name="connsiteY2" fmla="*/ 96110 h 4999652"/>
              <a:gd name="connsiteX3" fmla="*/ 11199600 w 11199600"/>
              <a:gd name="connsiteY3" fmla="*/ 335165 h 4999652"/>
              <a:gd name="connsiteX4" fmla="*/ 11199600 w 11199600"/>
              <a:gd name="connsiteY4" fmla="*/ 370350 h 4999652"/>
              <a:gd name="connsiteX5" fmla="*/ 11199600 w 11199600"/>
              <a:gd name="connsiteY5" fmla="*/ 379204 h 4999652"/>
              <a:gd name="connsiteX6" fmla="*/ 11199600 w 11199600"/>
              <a:gd name="connsiteY6" fmla="*/ 400048 h 4999652"/>
              <a:gd name="connsiteX7" fmla="*/ 11199600 w 11199600"/>
              <a:gd name="connsiteY7" fmla="*/ 400232 h 4999652"/>
              <a:gd name="connsiteX8" fmla="*/ 11199600 w 11199600"/>
              <a:gd name="connsiteY8" fmla="*/ 471202 h 4999652"/>
              <a:gd name="connsiteX9" fmla="*/ 11199600 w 11199600"/>
              <a:gd name="connsiteY9" fmla="*/ 475721 h 4999652"/>
              <a:gd name="connsiteX10" fmla="*/ 11199600 w 11199600"/>
              <a:gd name="connsiteY10" fmla="*/ 508692 h 4999652"/>
              <a:gd name="connsiteX11" fmla="*/ 11199600 w 11199600"/>
              <a:gd name="connsiteY11" fmla="*/ 554484 h 4999652"/>
              <a:gd name="connsiteX12" fmla="*/ 11199600 w 11199600"/>
              <a:gd name="connsiteY12" fmla="*/ 563015 h 4999652"/>
              <a:gd name="connsiteX13" fmla="*/ 11199600 w 11199600"/>
              <a:gd name="connsiteY13" fmla="*/ 609405 h 4999652"/>
              <a:gd name="connsiteX14" fmla="*/ 11199600 w 11199600"/>
              <a:gd name="connsiteY14" fmla="*/ 662759 h 4999652"/>
              <a:gd name="connsiteX15" fmla="*/ 11199600 w 11199600"/>
              <a:gd name="connsiteY15" fmla="*/ 674288 h 4999652"/>
              <a:gd name="connsiteX16" fmla="*/ 11199600 w 11199600"/>
              <a:gd name="connsiteY16" fmla="*/ 749961 h 4999652"/>
              <a:gd name="connsiteX17" fmla="*/ 11199600 w 11199600"/>
              <a:gd name="connsiteY17" fmla="*/ 775785 h 4999652"/>
              <a:gd name="connsiteX18" fmla="*/ 11199600 w 11199600"/>
              <a:gd name="connsiteY18" fmla="*/ 837255 h 4999652"/>
              <a:gd name="connsiteX19" fmla="*/ 11199600 w 11199600"/>
              <a:gd name="connsiteY19" fmla="*/ 902921 h 4999652"/>
              <a:gd name="connsiteX20" fmla="*/ 11199600 w 11199600"/>
              <a:gd name="connsiteY20" fmla="*/ 936999 h 4999652"/>
              <a:gd name="connsiteX21" fmla="*/ 11199600 w 11199600"/>
              <a:gd name="connsiteY21" fmla="*/ 1016524 h 4999652"/>
              <a:gd name="connsiteX22" fmla="*/ 11199600 w 11199600"/>
              <a:gd name="connsiteY22" fmla="*/ 1029131 h 4999652"/>
              <a:gd name="connsiteX23" fmla="*/ 11199600 w 11199600"/>
              <a:gd name="connsiteY23" fmla="*/ 1044999 h 4999652"/>
              <a:gd name="connsiteX24" fmla="*/ 11199600 w 11199600"/>
              <a:gd name="connsiteY24" fmla="*/ 1046406 h 4999652"/>
              <a:gd name="connsiteX25" fmla="*/ 11199600 w 11199600"/>
              <a:gd name="connsiteY25" fmla="*/ 1050025 h 4999652"/>
              <a:gd name="connsiteX26" fmla="*/ 11199600 w 11199600"/>
              <a:gd name="connsiteY26" fmla="*/ 1074887 h 4999652"/>
              <a:gd name="connsiteX27" fmla="*/ 11199600 w 11199600"/>
              <a:gd name="connsiteY27" fmla="*/ 1176672 h 4999652"/>
              <a:gd name="connsiteX28" fmla="*/ 11199600 w 11199600"/>
              <a:gd name="connsiteY28" fmla="*/ 1177161 h 4999652"/>
              <a:gd name="connsiteX29" fmla="*/ 11199600 w 11199600"/>
              <a:gd name="connsiteY29" fmla="*/ 1202847 h 4999652"/>
              <a:gd name="connsiteX30" fmla="*/ 11199600 w 11199600"/>
              <a:gd name="connsiteY30" fmla="*/ 1208224 h 4999652"/>
              <a:gd name="connsiteX31" fmla="*/ 11199600 w 11199600"/>
              <a:gd name="connsiteY31" fmla="*/ 1255579 h 4999652"/>
              <a:gd name="connsiteX32" fmla="*/ 11199600 w 11199600"/>
              <a:gd name="connsiteY32" fmla="*/ 1290764 h 4999652"/>
              <a:gd name="connsiteX33" fmla="*/ 11199600 w 11199600"/>
              <a:gd name="connsiteY33" fmla="*/ 1299618 h 4999652"/>
              <a:gd name="connsiteX34" fmla="*/ 11199600 w 11199600"/>
              <a:gd name="connsiteY34" fmla="*/ 1319238 h 4999652"/>
              <a:gd name="connsiteX35" fmla="*/ 11199600 w 11199600"/>
              <a:gd name="connsiteY35" fmla="*/ 1319239 h 4999652"/>
              <a:gd name="connsiteX36" fmla="*/ 11199600 w 11199600"/>
              <a:gd name="connsiteY36" fmla="*/ 1320462 h 4999652"/>
              <a:gd name="connsiteX37" fmla="*/ 11199600 w 11199600"/>
              <a:gd name="connsiteY37" fmla="*/ 1320646 h 4999652"/>
              <a:gd name="connsiteX38" fmla="*/ 11199600 w 11199600"/>
              <a:gd name="connsiteY38" fmla="*/ 1337290 h 4999652"/>
              <a:gd name="connsiteX39" fmla="*/ 11199600 w 11199600"/>
              <a:gd name="connsiteY39" fmla="*/ 1349128 h 4999652"/>
              <a:gd name="connsiteX40" fmla="*/ 11199600 w 11199600"/>
              <a:gd name="connsiteY40" fmla="*/ 1362376 h 4999652"/>
              <a:gd name="connsiteX41" fmla="*/ 11199600 w 11199600"/>
              <a:gd name="connsiteY41" fmla="*/ 1377295 h 4999652"/>
              <a:gd name="connsiteX42" fmla="*/ 11199600 w 11199600"/>
              <a:gd name="connsiteY42" fmla="*/ 1377296 h 4999652"/>
              <a:gd name="connsiteX43" fmla="*/ 11199600 w 11199600"/>
              <a:gd name="connsiteY43" fmla="*/ 1391616 h 4999652"/>
              <a:gd name="connsiteX44" fmla="*/ 11199600 w 11199600"/>
              <a:gd name="connsiteY44" fmla="*/ 1396135 h 4999652"/>
              <a:gd name="connsiteX45" fmla="*/ 11199600 w 11199600"/>
              <a:gd name="connsiteY45" fmla="*/ 1429106 h 4999652"/>
              <a:gd name="connsiteX46" fmla="*/ 11199600 w 11199600"/>
              <a:gd name="connsiteY46" fmla="*/ 1474898 h 4999652"/>
              <a:gd name="connsiteX47" fmla="*/ 11199600 w 11199600"/>
              <a:gd name="connsiteY47" fmla="*/ 1477086 h 4999652"/>
              <a:gd name="connsiteX48" fmla="*/ 11199600 w 11199600"/>
              <a:gd name="connsiteY48" fmla="*/ 1477087 h 4999652"/>
              <a:gd name="connsiteX49" fmla="*/ 11199600 w 11199600"/>
              <a:gd name="connsiteY49" fmla="*/ 1483429 h 4999652"/>
              <a:gd name="connsiteX50" fmla="*/ 11199600 w 11199600"/>
              <a:gd name="connsiteY50" fmla="*/ 1529819 h 4999652"/>
              <a:gd name="connsiteX51" fmla="*/ 11199600 w 11199600"/>
              <a:gd name="connsiteY51" fmla="*/ 1569176 h 4999652"/>
              <a:gd name="connsiteX52" fmla="*/ 11199600 w 11199600"/>
              <a:gd name="connsiteY52" fmla="*/ 1569177 h 4999652"/>
              <a:gd name="connsiteX53" fmla="*/ 11199600 w 11199600"/>
              <a:gd name="connsiteY53" fmla="*/ 1583173 h 4999652"/>
              <a:gd name="connsiteX54" fmla="*/ 11199600 w 11199600"/>
              <a:gd name="connsiteY54" fmla="*/ 1594702 h 4999652"/>
              <a:gd name="connsiteX55" fmla="*/ 11199600 w 11199600"/>
              <a:gd name="connsiteY55" fmla="*/ 1607195 h 4999652"/>
              <a:gd name="connsiteX56" fmla="*/ 11199600 w 11199600"/>
              <a:gd name="connsiteY56" fmla="*/ 1611530 h 4999652"/>
              <a:gd name="connsiteX57" fmla="*/ 11199600 w 11199600"/>
              <a:gd name="connsiteY57" fmla="*/ 1651535 h 4999652"/>
              <a:gd name="connsiteX58" fmla="*/ 11199600 w 11199600"/>
              <a:gd name="connsiteY58" fmla="*/ 1651536 h 4999652"/>
              <a:gd name="connsiteX59" fmla="*/ 11199600 w 11199600"/>
              <a:gd name="connsiteY59" fmla="*/ 1670375 h 4999652"/>
              <a:gd name="connsiteX60" fmla="*/ 11199600 w 11199600"/>
              <a:gd name="connsiteY60" fmla="*/ 1696199 h 4999652"/>
              <a:gd name="connsiteX61" fmla="*/ 11199600 w 11199600"/>
              <a:gd name="connsiteY61" fmla="*/ 1757669 h 4999652"/>
              <a:gd name="connsiteX62" fmla="*/ 11199600 w 11199600"/>
              <a:gd name="connsiteY62" fmla="*/ 1779317 h 4999652"/>
              <a:gd name="connsiteX63" fmla="*/ 11199600 w 11199600"/>
              <a:gd name="connsiteY63" fmla="*/ 1779318 h 4999652"/>
              <a:gd name="connsiteX64" fmla="*/ 11199600 w 11199600"/>
              <a:gd name="connsiteY64" fmla="*/ 1823335 h 4999652"/>
              <a:gd name="connsiteX65" fmla="*/ 11199600 w 11199600"/>
              <a:gd name="connsiteY65" fmla="*/ 1843416 h 4999652"/>
              <a:gd name="connsiteX66" fmla="*/ 11199600 w 11199600"/>
              <a:gd name="connsiteY66" fmla="*/ 1843417 h 4999652"/>
              <a:gd name="connsiteX67" fmla="*/ 11199600 w 11199600"/>
              <a:gd name="connsiteY67" fmla="*/ 1857413 h 4999652"/>
              <a:gd name="connsiteX68" fmla="*/ 11199600 w 11199600"/>
              <a:gd name="connsiteY68" fmla="*/ 1881436 h 4999652"/>
              <a:gd name="connsiteX69" fmla="*/ 11199600 w 11199600"/>
              <a:gd name="connsiteY69" fmla="*/ 1898682 h 4999652"/>
              <a:gd name="connsiteX70" fmla="*/ 11199600 w 11199600"/>
              <a:gd name="connsiteY70" fmla="*/ 1965413 h 4999652"/>
              <a:gd name="connsiteX71" fmla="*/ 11199600 w 11199600"/>
              <a:gd name="connsiteY71" fmla="*/ 1970439 h 4999652"/>
              <a:gd name="connsiteX72" fmla="*/ 11199600 w 11199600"/>
              <a:gd name="connsiteY72" fmla="*/ 2008550 h 4999652"/>
              <a:gd name="connsiteX73" fmla="*/ 11199600 w 11199600"/>
              <a:gd name="connsiteY73" fmla="*/ 2008551 h 4999652"/>
              <a:gd name="connsiteX74" fmla="*/ 11199600 w 11199600"/>
              <a:gd name="connsiteY74" fmla="*/ 2053557 h 4999652"/>
              <a:gd name="connsiteX75" fmla="*/ 11199600 w 11199600"/>
              <a:gd name="connsiteY75" fmla="*/ 2053558 h 4999652"/>
              <a:gd name="connsiteX76" fmla="*/ 11199600 w 11199600"/>
              <a:gd name="connsiteY76" fmla="*/ 2097575 h 4999652"/>
              <a:gd name="connsiteX77" fmla="*/ 11199600 w 11199600"/>
              <a:gd name="connsiteY77" fmla="*/ 2123261 h 4999652"/>
              <a:gd name="connsiteX78" fmla="*/ 11199600 w 11199600"/>
              <a:gd name="connsiteY78" fmla="*/ 2172922 h 4999652"/>
              <a:gd name="connsiteX79" fmla="*/ 11199600 w 11199600"/>
              <a:gd name="connsiteY79" fmla="*/ 2212580 h 4999652"/>
              <a:gd name="connsiteX80" fmla="*/ 11199600 w 11199600"/>
              <a:gd name="connsiteY80" fmla="*/ 2239653 h 4999652"/>
              <a:gd name="connsiteX81" fmla="*/ 11199600 w 11199600"/>
              <a:gd name="connsiteY81" fmla="*/ 2257704 h 4999652"/>
              <a:gd name="connsiteX82" fmla="*/ 11199600 w 11199600"/>
              <a:gd name="connsiteY82" fmla="*/ 2257705 h 4999652"/>
              <a:gd name="connsiteX83" fmla="*/ 11199600 w 11199600"/>
              <a:gd name="connsiteY83" fmla="*/ 2282790 h 4999652"/>
              <a:gd name="connsiteX84" fmla="*/ 11199600 w 11199600"/>
              <a:gd name="connsiteY84" fmla="*/ 2282791 h 4999652"/>
              <a:gd name="connsiteX85" fmla="*/ 11199600 w 11199600"/>
              <a:gd name="connsiteY85" fmla="*/ 2297710 h 4999652"/>
              <a:gd name="connsiteX86" fmla="*/ 11199600 w 11199600"/>
              <a:gd name="connsiteY86" fmla="*/ 2397501 h 4999652"/>
              <a:gd name="connsiteX87" fmla="*/ 11199600 w 11199600"/>
              <a:gd name="connsiteY87" fmla="*/ 2486821 h 4999652"/>
              <a:gd name="connsiteX88" fmla="*/ 11199600 w 11199600"/>
              <a:gd name="connsiteY88" fmla="*/ 2489591 h 4999652"/>
              <a:gd name="connsiteX89" fmla="*/ 11199600 w 11199600"/>
              <a:gd name="connsiteY89" fmla="*/ 2527609 h 4999652"/>
              <a:gd name="connsiteX90" fmla="*/ 11199600 w 11199600"/>
              <a:gd name="connsiteY90" fmla="*/ 2527610 h 4999652"/>
              <a:gd name="connsiteX91" fmla="*/ 11199600 w 11199600"/>
              <a:gd name="connsiteY91" fmla="*/ 2531944 h 4999652"/>
              <a:gd name="connsiteX92" fmla="*/ 11199600 w 11199600"/>
              <a:gd name="connsiteY92" fmla="*/ 2531945 h 4999652"/>
              <a:gd name="connsiteX93" fmla="*/ 11199600 w 11199600"/>
              <a:gd name="connsiteY93" fmla="*/ 2549720 h 4999652"/>
              <a:gd name="connsiteX94" fmla="*/ 11199600 w 11199600"/>
              <a:gd name="connsiteY94" fmla="*/ 2571950 h 4999652"/>
              <a:gd name="connsiteX95" fmla="*/ 11199600 w 11199600"/>
              <a:gd name="connsiteY95" fmla="*/ 2699732 h 4999652"/>
              <a:gd name="connsiteX96" fmla="*/ 11199600 w 11199600"/>
              <a:gd name="connsiteY96" fmla="*/ 2763831 h 4999652"/>
              <a:gd name="connsiteX97" fmla="*/ 11199600 w 11199600"/>
              <a:gd name="connsiteY97" fmla="*/ 2790282 h 4999652"/>
              <a:gd name="connsiteX98" fmla="*/ 11199600 w 11199600"/>
              <a:gd name="connsiteY98" fmla="*/ 2801850 h 4999652"/>
              <a:gd name="connsiteX99" fmla="*/ 11199600 w 11199600"/>
              <a:gd name="connsiteY99" fmla="*/ 2819096 h 4999652"/>
              <a:gd name="connsiteX100" fmla="*/ 11199600 w 11199600"/>
              <a:gd name="connsiteY100" fmla="*/ 2823960 h 4999652"/>
              <a:gd name="connsiteX101" fmla="*/ 11199600 w 11199600"/>
              <a:gd name="connsiteY101" fmla="*/ 2910931 h 4999652"/>
              <a:gd name="connsiteX102" fmla="*/ 11199600 w 11199600"/>
              <a:gd name="connsiteY102" fmla="*/ 3093336 h 4999652"/>
              <a:gd name="connsiteX103" fmla="*/ 11199600 w 11199600"/>
              <a:gd name="connsiteY103" fmla="*/ 3132994 h 4999652"/>
              <a:gd name="connsiteX104" fmla="*/ 11199600 w 11199600"/>
              <a:gd name="connsiteY104" fmla="*/ 3185171 h 4999652"/>
              <a:gd name="connsiteX105" fmla="*/ 11199600 w 11199600"/>
              <a:gd name="connsiteY105" fmla="*/ 3297044 h 4999652"/>
              <a:gd name="connsiteX106" fmla="*/ 11199600 w 11199600"/>
              <a:gd name="connsiteY106" fmla="*/ 3407235 h 4999652"/>
              <a:gd name="connsiteX107" fmla="*/ 11199600 w 11199600"/>
              <a:gd name="connsiteY107" fmla="*/ 3470134 h 4999652"/>
              <a:gd name="connsiteX108" fmla="*/ 11199600 w 11199600"/>
              <a:gd name="connsiteY108" fmla="*/ 3571284 h 4999652"/>
              <a:gd name="connsiteX109" fmla="*/ 11199600 w 11199600"/>
              <a:gd name="connsiteY109" fmla="*/ 3708888 h 4999652"/>
              <a:gd name="connsiteX110" fmla="*/ 11199600 w 11199600"/>
              <a:gd name="connsiteY110" fmla="*/ 3744374 h 4999652"/>
              <a:gd name="connsiteX111" fmla="*/ 11199600 w 11199600"/>
              <a:gd name="connsiteY111" fmla="*/ 3831345 h 4999652"/>
              <a:gd name="connsiteX112" fmla="*/ 11199600 w 11199600"/>
              <a:gd name="connsiteY112" fmla="*/ 3983128 h 4999652"/>
              <a:gd name="connsiteX113" fmla="*/ 11199600 w 11199600"/>
              <a:gd name="connsiteY113" fmla="*/ 4105585 h 4999652"/>
              <a:gd name="connsiteX114" fmla="*/ 11199600 w 11199600"/>
              <a:gd name="connsiteY114" fmla="*/ 4217458 h 4999652"/>
              <a:gd name="connsiteX115" fmla="*/ 11199600 w 11199600"/>
              <a:gd name="connsiteY115" fmla="*/ 4491698 h 4999652"/>
              <a:gd name="connsiteX116" fmla="*/ 11199600 w 11199600"/>
              <a:gd name="connsiteY116" fmla="*/ 4629302 h 4999652"/>
              <a:gd name="connsiteX117" fmla="*/ 11199600 w 11199600"/>
              <a:gd name="connsiteY117" fmla="*/ 4903542 h 4999652"/>
              <a:gd name="connsiteX118" fmla="*/ 11103603 w 11199600"/>
              <a:gd name="connsiteY118" fmla="*/ 4999652 h 4999652"/>
              <a:gd name="connsiteX119" fmla="*/ 95997 w 11199600"/>
              <a:gd name="connsiteY119" fmla="*/ 4999652 h 4999652"/>
              <a:gd name="connsiteX120" fmla="*/ 0 w 11199600"/>
              <a:gd name="connsiteY120" fmla="*/ 4903542 h 4999652"/>
              <a:gd name="connsiteX121" fmla="*/ 0 w 11199600"/>
              <a:gd name="connsiteY121" fmla="*/ 4899807 h 4999652"/>
              <a:gd name="connsiteX122" fmla="*/ 0 w 11199600"/>
              <a:gd name="connsiteY122" fmla="*/ 4890936 h 4999652"/>
              <a:gd name="connsiteX123" fmla="*/ 0 w 11199600"/>
              <a:gd name="connsiteY123" fmla="*/ 4873660 h 4999652"/>
              <a:gd name="connsiteX124" fmla="*/ 0 w 11199600"/>
              <a:gd name="connsiteY124" fmla="*/ 4845179 h 4999652"/>
              <a:gd name="connsiteX125" fmla="*/ 0 w 11199600"/>
              <a:gd name="connsiteY125" fmla="*/ 4802691 h 4999652"/>
              <a:gd name="connsiteX126" fmla="*/ 0 w 11199600"/>
              <a:gd name="connsiteY126" fmla="*/ 4743394 h 4999652"/>
              <a:gd name="connsiteX127" fmla="*/ 0 w 11199600"/>
              <a:gd name="connsiteY127" fmla="*/ 4664487 h 4999652"/>
              <a:gd name="connsiteX128" fmla="*/ 0 w 11199600"/>
              <a:gd name="connsiteY128" fmla="*/ 4629302 h 4999652"/>
              <a:gd name="connsiteX129" fmla="*/ 0 w 11199600"/>
              <a:gd name="connsiteY129" fmla="*/ 4628196 h 4999652"/>
              <a:gd name="connsiteX130" fmla="*/ 0 w 11199600"/>
              <a:gd name="connsiteY130" fmla="*/ 4620448 h 4999652"/>
              <a:gd name="connsiteX131" fmla="*/ 0 w 11199600"/>
              <a:gd name="connsiteY131" fmla="*/ 4599605 h 4999652"/>
              <a:gd name="connsiteX132" fmla="*/ 0 w 11199600"/>
              <a:gd name="connsiteY132" fmla="*/ 4599420 h 4999652"/>
              <a:gd name="connsiteX133" fmla="*/ 0 w 11199600"/>
              <a:gd name="connsiteY133" fmla="*/ 4558471 h 4999652"/>
              <a:gd name="connsiteX134" fmla="*/ 0 w 11199600"/>
              <a:gd name="connsiteY134" fmla="*/ 4528451 h 4999652"/>
              <a:gd name="connsiteX135" fmla="*/ 0 w 11199600"/>
              <a:gd name="connsiteY135" fmla="*/ 4523932 h 4999652"/>
              <a:gd name="connsiteX136" fmla="*/ 0 w 11199600"/>
              <a:gd name="connsiteY136" fmla="*/ 4490960 h 4999652"/>
              <a:gd name="connsiteX137" fmla="*/ 0 w 11199600"/>
              <a:gd name="connsiteY137" fmla="*/ 4445169 h 4999652"/>
              <a:gd name="connsiteX138" fmla="*/ 0 w 11199600"/>
              <a:gd name="connsiteY138" fmla="*/ 4436638 h 4999652"/>
              <a:gd name="connsiteX139" fmla="*/ 0 w 11199600"/>
              <a:gd name="connsiteY139" fmla="*/ 4390247 h 4999652"/>
              <a:gd name="connsiteX140" fmla="*/ 0 w 11199600"/>
              <a:gd name="connsiteY140" fmla="*/ 4336893 h 4999652"/>
              <a:gd name="connsiteX141" fmla="*/ 0 w 11199600"/>
              <a:gd name="connsiteY141" fmla="*/ 4325365 h 4999652"/>
              <a:gd name="connsiteX142" fmla="*/ 0 w 11199600"/>
              <a:gd name="connsiteY142" fmla="*/ 4249692 h 4999652"/>
              <a:gd name="connsiteX143" fmla="*/ 0 w 11199600"/>
              <a:gd name="connsiteY143" fmla="*/ 4223868 h 4999652"/>
              <a:gd name="connsiteX144" fmla="*/ 0 w 11199600"/>
              <a:gd name="connsiteY144" fmla="*/ 4162398 h 4999652"/>
              <a:gd name="connsiteX145" fmla="*/ 0 w 11199600"/>
              <a:gd name="connsiteY145" fmla="*/ 4096731 h 4999652"/>
              <a:gd name="connsiteX146" fmla="*/ 0 w 11199600"/>
              <a:gd name="connsiteY146" fmla="*/ 4062653 h 4999652"/>
              <a:gd name="connsiteX147" fmla="*/ 0 w 11199600"/>
              <a:gd name="connsiteY147" fmla="*/ 3983128 h 4999652"/>
              <a:gd name="connsiteX148" fmla="*/ 0 w 11199600"/>
              <a:gd name="connsiteY148" fmla="*/ 3979393 h 4999652"/>
              <a:gd name="connsiteX149" fmla="*/ 0 w 11199600"/>
              <a:gd name="connsiteY149" fmla="*/ 3970522 h 4999652"/>
              <a:gd name="connsiteX150" fmla="*/ 0 w 11199600"/>
              <a:gd name="connsiteY150" fmla="*/ 3954654 h 4999652"/>
              <a:gd name="connsiteX151" fmla="*/ 0 w 11199600"/>
              <a:gd name="connsiteY151" fmla="*/ 3953246 h 4999652"/>
              <a:gd name="connsiteX152" fmla="*/ 0 w 11199600"/>
              <a:gd name="connsiteY152" fmla="*/ 3949628 h 4999652"/>
              <a:gd name="connsiteX153" fmla="*/ 0 w 11199600"/>
              <a:gd name="connsiteY153" fmla="*/ 3924765 h 4999652"/>
              <a:gd name="connsiteX154" fmla="*/ 0 w 11199600"/>
              <a:gd name="connsiteY154" fmla="*/ 3882277 h 4999652"/>
              <a:gd name="connsiteX155" fmla="*/ 0 w 11199600"/>
              <a:gd name="connsiteY155" fmla="*/ 3822980 h 4999652"/>
              <a:gd name="connsiteX156" fmla="*/ 0 w 11199600"/>
              <a:gd name="connsiteY156" fmla="*/ 3822491 h 4999652"/>
              <a:gd name="connsiteX157" fmla="*/ 0 w 11199600"/>
              <a:gd name="connsiteY157" fmla="*/ 3796806 h 4999652"/>
              <a:gd name="connsiteX158" fmla="*/ 0 w 11199600"/>
              <a:gd name="connsiteY158" fmla="*/ 3744073 h 4999652"/>
              <a:gd name="connsiteX159" fmla="*/ 0 w 11199600"/>
              <a:gd name="connsiteY159" fmla="*/ 3708888 h 4999652"/>
              <a:gd name="connsiteX160" fmla="*/ 0 w 11199600"/>
              <a:gd name="connsiteY160" fmla="*/ 3707782 h 4999652"/>
              <a:gd name="connsiteX161" fmla="*/ 0 w 11199600"/>
              <a:gd name="connsiteY161" fmla="*/ 3700034 h 4999652"/>
              <a:gd name="connsiteX162" fmla="*/ 0 w 11199600"/>
              <a:gd name="connsiteY162" fmla="*/ 3680414 h 4999652"/>
              <a:gd name="connsiteX163" fmla="*/ 0 w 11199600"/>
              <a:gd name="connsiteY163" fmla="*/ 3679191 h 4999652"/>
              <a:gd name="connsiteX164" fmla="*/ 0 w 11199600"/>
              <a:gd name="connsiteY164" fmla="*/ 3679006 h 4999652"/>
              <a:gd name="connsiteX165" fmla="*/ 0 w 11199600"/>
              <a:gd name="connsiteY165" fmla="*/ 3638057 h 4999652"/>
              <a:gd name="connsiteX166" fmla="*/ 0 w 11199600"/>
              <a:gd name="connsiteY166" fmla="*/ 3622356 h 4999652"/>
              <a:gd name="connsiteX167" fmla="*/ 0 w 11199600"/>
              <a:gd name="connsiteY167" fmla="*/ 3608037 h 4999652"/>
              <a:gd name="connsiteX168" fmla="*/ 0 w 11199600"/>
              <a:gd name="connsiteY168" fmla="*/ 3603518 h 4999652"/>
              <a:gd name="connsiteX169" fmla="*/ 0 w 11199600"/>
              <a:gd name="connsiteY169" fmla="*/ 3570546 h 4999652"/>
              <a:gd name="connsiteX170" fmla="*/ 0 w 11199600"/>
              <a:gd name="connsiteY170" fmla="*/ 3524755 h 4999652"/>
              <a:gd name="connsiteX171" fmla="*/ 0 w 11199600"/>
              <a:gd name="connsiteY171" fmla="*/ 3522566 h 4999652"/>
              <a:gd name="connsiteX172" fmla="*/ 0 w 11199600"/>
              <a:gd name="connsiteY172" fmla="*/ 3516224 h 4999652"/>
              <a:gd name="connsiteX173" fmla="*/ 0 w 11199600"/>
              <a:gd name="connsiteY173" fmla="*/ 3469833 h 4999652"/>
              <a:gd name="connsiteX174" fmla="*/ 0 w 11199600"/>
              <a:gd name="connsiteY174" fmla="*/ 3430476 h 4999652"/>
              <a:gd name="connsiteX175" fmla="*/ 0 w 11199600"/>
              <a:gd name="connsiteY175" fmla="*/ 3416479 h 4999652"/>
              <a:gd name="connsiteX176" fmla="*/ 0 w 11199600"/>
              <a:gd name="connsiteY176" fmla="*/ 3404951 h 4999652"/>
              <a:gd name="connsiteX177" fmla="*/ 0 w 11199600"/>
              <a:gd name="connsiteY177" fmla="*/ 3348116 h 4999652"/>
              <a:gd name="connsiteX178" fmla="*/ 0 w 11199600"/>
              <a:gd name="connsiteY178" fmla="*/ 3329278 h 4999652"/>
              <a:gd name="connsiteX179" fmla="*/ 0 w 11199600"/>
              <a:gd name="connsiteY179" fmla="*/ 3303454 h 4999652"/>
              <a:gd name="connsiteX180" fmla="*/ 0 w 11199600"/>
              <a:gd name="connsiteY180" fmla="*/ 3241984 h 4999652"/>
              <a:gd name="connsiteX181" fmla="*/ 0 w 11199600"/>
              <a:gd name="connsiteY181" fmla="*/ 3220334 h 4999652"/>
              <a:gd name="connsiteX182" fmla="*/ 0 w 11199600"/>
              <a:gd name="connsiteY182" fmla="*/ 3176317 h 4999652"/>
              <a:gd name="connsiteX183" fmla="*/ 0 w 11199600"/>
              <a:gd name="connsiteY183" fmla="*/ 3156236 h 4999652"/>
              <a:gd name="connsiteX184" fmla="*/ 0 w 11199600"/>
              <a:gd name="connsiteY184" fmla="*/ 3142239 h 4999652"/>
              <a:gd name="connsiteX185" fmla="*/ 0 w 11199600"/>
              <a:gd name="connsiteY185" fmla="*/ 3034240 h 4999652"/>
              <a:gd name="connsiteX186" fmla="*/ 0 w 11199600"/>
              <a:gd name="connsiteY186" fmla="*/ 3029214 h 4999652"/>
              <a:gd name="connsiteX187" fmla="*/ 0 w 11199600"/>
              <a:gd name="connsiteY187" fmla="*/ 2991101 h 4999652"/>
              <a:gd name="connsiteX188" fmla="*/ 0 w 11199600"/>
              <a:gd name="connsiteY188" fmla="*/ 2946094 h 4999652"/>
              <a:gd name="connsiteX189" fmla="*/ 0 w 11199600"/>
              <a:gd name="connsiteY189" fmla="*/ 2902077 h 4999652"/>
              <a:gd name="connsiteX190" fmla="*/ 0 w 11199600"/>
              <a:gd name="connsiteY190" fmla="*/ 2876392 h 4999652"/>
              <a:gd name="connsiteX191" fmla="*/ 0 w 11199600"/>
              <a:gd name="connsiteY191" fmla="*/ 2790282 h 4999652"/>
              <a:gd name="connsiteX192" fmla="*/ 0 w 11199600"/>
              <a:gd name="connsiteY192" fmla="*/ 2787072 h 4999652"/>
              <a:gd name="connsiteX193" fmla="*/ 0 w 11199600"/>
              <a:gd name="connsiteY193" fmla="*/ 2760000 h 4999652"/>
              <a:gd name="connsiteX194" fmla="*/ 0 w 11199600"/>
              <a:gd name="connsiteY194" fmla="*/ 2741948 h 4999652"/>
              <a:gd name="connsiteX195" fmla="*/ 0 w 11199600"/>
              <a:gd name="connsiteY195" fmla="*/ 2741947 h 4999652"/>
              <a:gd name="connsiteX196" fmla="*/ 0 w 11199600"/>
              <a:gd name="connsiteY196" fmla="*/ 2716862 h 4999652"/>
              <a:gd name="connsiteX197" fmla="*/ 0 w 11199600"/>
              <a:gd name="connsiteY197" fmla="*/ 2716861 h 4999652"/>
              <a:gd name="connsiteX198" fmla="*/ 0 w 11199600"/>
              <a:gd name="connsiteY198" fmla="*/ 2701942 h 4999652"/>
              <a:gd name="connsiteX199" fmla="*/ 0 w 11199600"/>
              <a:gd name="connsiteY199" fmla="*/ 2602152 h 4999652"/>
              <a:gd name="connsiteX200" fmla="*/ 0 w 11199600"/>
              <a:gd name="connsiteY200" fmla="*/ 2512832 h 4999652"/>
              <a:gd name="connsiteX201" fmla="*/ 0 w 11199600"/>
              <a:gd name="connsiteY201" fmla="*/ 2510062 h 4999652"/>
              <a:gd name="connsiteX202" fmla="*/ 0 w 11199600"/>
              <a:gd name="connsiteY202" fmla="*/ 2472043 h 4999652"/>
              <a:gd name="connsiteX203" fmla="*/ 0 w 11199600"/>
              <a:gd name="connsiteY203" fmla="*/ 2472042 h 4999652"/>
              <a:gd name="connsiteX204" fmla="*/ 0 w 11199600"/>
              <a:gd name="connsiteY204" fmla="*/ 2467708 h 4999652"/>
              <a:gd name="connsiteX205" fmla="*/ 0 w 11199600"/>
              <a:gd name="connsiteY205" fmla="*/ 2467707 h 4999652"/>
              <a:gd name="connsiteX206" fmla="*/ 0 w 11199600"/>
              <a:gd name="connsiteY206" fmla="*/ 2449933 h 4999652"/>
              <a:gd name="connsiteX207" fmla="*/ 0 w 11199600"/>
              <a:gd name="connsiteY207" fmla="*/ 2427702 h 4999652"/>
              <a:gd name="connsiteX208" fmla="*/ 0 w 11199600"/>
              <a:gd name="connsiteY208" fmla="*/ 2299920 h 4999652"/>
              <a:gd name="connsiteX209" fmla="*/ 0 w 11199600"/>
              <a:gd name="connsiteY209" fmla="*/ 2235822 h 4999652"/>
              <a:gd name="connsiteX210" fmla="*/ 0 w 11199600"/>
              <a:gd name="connsiteY210" fmla="*/ 2197803 h 4999652"/>
              <a:gd name="connsiteX211" fmla="*/ 0 w 11199600"/>
              <a:gd name="connsiteY211" fmla="*/ 2197802 h 4999652"/>
              <a:gd name="connsiteX212" fmla="*/ 0 w 11199600"/>
              <a:gd name="connsiteY212" fmla="*/ 2180556 h 4999652"/>
              <a:gd name="connsiteX213" fmla="*/ 0 w 11199600"/>
              <a:gd name="connsiteY213" fmla="*/ 2180555 h 4999652"/>
              <a:gd name="connsiteX214" fmla="*/ 0 w 11199600"/>
              <a:gd name="connsiteY214" fmla="*/ 2175692 h 4999652"/>
              <a:gd name="connsiteX215" fmla="*/ 0 w 11199600"/>
              <a:gd name="connsiteY215" fmla="*/ 2088721 h 4999652"/>
              <a:gd name="connsiteX216" fmla="*/ 0 w 11199600"/>
              <a:gd name="connsiteY216" fmla="*/ 2070687 h 4999652"/>
              <a:gd name="connsiteX217" fmla="*/ 0 w 11199600"/>
              <a:gd name="connsiteY217" fmla="*/ 2025680 h 4999652"/>
              <a:gd name="connsiteX218" fmla="*/ 0 w 11199600"/>
              <a:gd name="connsiteY218" fmla="*/ 1906316 h 4999652"/>
              <a:gd name="connsiteX219" fmla="*/ 0 w 11199600"/>
              <a:gd name="connsiteY219" fmla="*/ 1906315 h 4999652"/>
              <a:gd name="connsiteX220" fmla="*/ 0 w 11199600"/>
              <a:gd name="connsiteY220" fmla="*/ 1866658 h 4999652"/>
              <a:gd name="connsiteX221" fmla="*/ 0 w 11199600"/>
              <a:gd name="connsiteY221" fmla="*/ 1866657 h 4999652"/>
              <a:gd name="connsiteX222" fmla="*/ 0 w 11199600"/>
              <a:gd name="connsiteY222" fmla="*/ 1821533 h 4999652"/>
              <a:gd name="connsiteX223" fmla="*/ 0 w 11199600"/>
              <a:gd name="connsiteY223" fmla="*/ 1814481 h 4999652"/>
              <a:gd name="connsiteX224" fmla="*/ 0 w 11199600"/>
              <a:gd name="connsiteY224" fmla="*/ 1796447 h 4999652"/>
              <a:gd name="connsiteX225" fmla="*/ 0 w 11199600"/>
              <a:gd name="connsiteY225" fmla="*/ 1702609 h 4999652"/>
              <a:gd name="connsiteX226" fmla="*/ 0 w 11199600"/>
              <a:gd name="connsiteY226" fmla="*/ 1592418 h 4999652"/>
              <a:gd name="connsiteX227" fmla="*/ 0 w 11199600"/>
              <a:gd name="connsiteY227" fmla="*/ 1592417 h 4999652"/>
              <a:gd name="connsiteX228" fmla="*/ 0 w 11199600"/>
              <a:gd name="connsiteY228" fmla="*/ 1551628 h 4999652"/>
              <a:gd name="connsiteX229" fmla="*/ 0 w 11199600"/>
              <a:gd name="connsiteY229" fmla="*/ 1547293 h 4999652"/>
              <a:gd name="connsiteX230" fmla="*/ 0 w 11199600"/>
              <a:gd name="connsiteY230" fmla="*/ 1529519 h 4999652"/>
              <a:gd name="connsiteX231" fmla="*/ 0 w 11199600"/>
              <a:gd name="connsiteY231" fmla="*/ 1529518 h 4999652"/>
              <a:gd name="connsiteX232" fmla="*/ 0 w 11199600"/>
              <a:gd name="connsiteY232" fmla="*/ 1428369 h 4999652"/>
              <a:gd name="connsiteX233" fmla="*/ 0 w 11199600"/>
              <a:gd name="connsiteY233" fmla="*/ 1290764 h 4999652"/>
              <a:gd name="connsiteX234" fmla="*/ 0 w 11199600"/>
              <a:gd name="connsiteY234" fmla="*/ 1277388 h 4999652"/>
              <a:gd name="connsiteX235" fmla="*/ 0 w 11199600"/>
              <a:gd name="connsiteY235" fmla="*/ 1260141 h 4999652"/>
              <a:gd name="connsiteX236" fmla="*/ 0 w 11199600"/>
              <a:gd name="connsiteY236" fmla="*/ 1255278 h 4999652"/>
              <a:gd name="connsiteX237" fmla="*/ 0 w 11199600"/>
              <a:gd name="connsiteY237" fmla="*/ 1255277 h 4999652"/>
              <a:gd name="connsiteX238" fmla="*/ 0 w 11199600"/>
              <a:gd name="connsiteY238" fmla="*/ 1208224 h 4999652"/>
              <a:gd name="connsiteX239" fmla="*/ 0 w 11199600"/>
              <a:gd name="connsiteY239" fmla="*/ 1168307 h 4999652"/>
              <a:gd name="connsiteX240" fmla="*/ 0 w 11199600"/>
              <a:gd name="connsiteY240" fmla="*/ 1016524 h 4999652"/>
              <a:gd name="connsiteX241" fmla="*/ 0 w 11199600"/>
              <a:gd name="connsiteY241" fmla="*/ 894067 h 4999652"/>
              <a:gd name="connsiteX242" fmla="*/ 0 w 11199600"/>
              <a:gd name="connsiteY242" fmla="*/ 782195 h 4999652"/>
              <a:gd name="connsiteX243" fmla="*/ 0 w 11199600"/>
              <a:gd name="connsiteY243" fmla="*/ 507955 h 4999652"/>
              <a:gd name="connsiteX244" fmla="*/ 0 w 11199600"/>
              <a:gd name="connsiteY244" fmla="*/ 370350 h 4999652"/>
              <a:gd name="connsiteX245" fmla="*/ 0 w 11199600"/>
              <a:gd name="connsiteY245" fmla="*/ 96110 h 4999652"/>
              <a:gd name="connsiteX246" fmla="*/ 95997 w 11199600"/>
              <a:gd name="connsiteY246" fmla="*/ 0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</a:cxnLst>
            <a:rect l="l" t="t" r="r" b="b"/>
            <a:pathLst>
              <a:path w="11199600" h="4999652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08224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8"/>
                </a:ln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lnTo>
                  <a:pt x="11199600" y="1337290"/>
                </a:lnTo>
                <a:lnTo>
                  <a:pt x="11199600" y="1349128"/>
                </a:lnTo>
                <a:lnTo>
                  <a:pt x="11199600" y="1362376"/>
                </a:lnTo>
                <a:lnTo>
                  <a:pt x="11199600" y="1377295"/>
                </a:ln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6"/>
                </a:ln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6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07195"/>
                </a:lnTo>
                <a:lnTo>
                  <a:pt x="11199600" y="1611530"/>
                </a:lnTo>
                <a:lnTo>
                  <a:pt x="11199600" y="1651535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7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6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881436"/>
                </a:lnTo>
                <a:lnTo>
                  <a:pt x="11199600" y="1898682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0"/>
                </a:lnTo>
                <a:lnTo>
                  <a:pt x="11199600" y="2008551"/>
                </a:lnTo>
                <a:lnTo>
                  <a:pt x="11199600" y="2053557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172922"/>
                </a:lnTo>
                <a:lnTo>
                  <a:pt x="11199600" y="2212580"/>
                </a:lnTo>
                <a:lnTo>
                  <a:pt x="11199600" y="2239653"/>
                </a:lnTo>
                <a:lnTo>
                  <a:pt x="11199600" y="2257704"/>
                </a:lnTo>
                <a:lnTo>
                  <a:pt x="11199600" y="2257705"/>
                </a:lnTo>
                <a:lnTo>
                  <a:pt x="11199600" y="2282790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6821"/>
                </a:lnTo>
                <a:lnTo>
                  <a:pt x="11199600" y="2489591"/>
                </a:lnTo>
                <a:lnTo>
                  <a:pt x="11199600" y="2527609"/>
                </a:lnTo>
                <a:lnTo>
                  <a:pt x="11199600" y="2527610"/>
                </a:lnTo>
                <a:lnTo>
                  <a:pt x="11199600" y="2531944"/>
                </a:lnTo>
                <a:lnTo>
                  <a:pt x="11199600" y="2531945"/>
                </a:lnTo>
                <a:lnTo>
                  <a:pt x="11199600" y="2549720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790282"/>
                </a:lnTo>
                <a:lnTo>
                  <a:pt x="11199600" y="2801850"/>
                </a:lnTo>
                <a:lnTo>
                  <a:pt x="11199600" y="2819096"/>
                </a:lnTo>
                <a:lnTo>
                  <a:pt x="11199600" y="2823960"/>
                </a:lnTo>
                <a:lnTo>
                  <a:pt x="11199600" y="2910931"/>
                </a:lnTo>
                <a:lnTo>
                  <a:pt x="11199600" y="3093336"/>
                </a:lnTo>
                <a:lnTo>
                  <a:pt x="11199600" y="3132994"/>
                </a:lnTo>
                <a:lnTo>
                  <a:pt x="11199600" y="3185171"/>
                </a:lnTo>
                <a:lnTo>
                  <a:pt x="11199600" y="3297044"/>
                </a:lnTo>
                <a:lnTo>
                  <a:pt x="11199600" y="3407235"/>
                </a:lnTo>
                <a:lnTo>
                  <a:pt x="11199600" y="3470134"/>
                </a:lnTo>
                <a:lnTo>
                  <a:pt x="11199600" y="3571284"/>
                </a:lnTo>
                <a:lnTo>
                  <a:pt x="11199600" y="3708888"/>
                </a:lnTo>
                <a:lnTo>
                  <a:pt x="11199600" y="3744374"/>
                </a:lnTo>
                <a:lnTo>
                  <a:pt x="11199600" y="3831345"/>
                </a:lnTo>
                <a:lnTo>
                  <a:pt x="11199600" y="3983128"/>
                </a:lnTo>
                <a:lnTo>
                  <a:pt x="11199600" y="4105585"/>
                </a:lnTo>
                <a:lnTo>
                  <a:pt x="11199600" y="4217458"/>
                </a:lnTo>
                <a:lnTo>
                  <a:pt x="11199600" y="4491698"/>
                </a:lnTo>
                <a:lnTo>
                  <a:pt x="11199600" y="4629302"/>
                </a:lnTo>
                <a:lnTo>
                  <a:pt x="11199600" y="4903542"/>
                </a:lnTo>
                <a:cubicBezTo>
                  <a:pt x="11199600" y="4999652"/>
                  <a:pt x="11103603" y="4999652"/>
                  <a:pt x="11103603" y="4999652"/>
                </a:cubicBezTo>
                <a:cubicBezTo>
                  <a:pt x="11103603" y="4999652"/>
                  <a:pt x="11103603" y="4999652"/>
                  <a:pt x="95997" y="4999652"/>
                </a:cubicBezTo>
                <a:cubicBezTo>
                  <a:pt x="0" y="4999652"/>
                  <a:pt x="0" y="4903542"/>
                  <a:pt x="0" y="4903542"/>
                </a:cubicBezTo>
                <a:lnTo>
                  <a:pt x="0" y="4899807"/>
                </a:lnTo>
                <a:lnTo>
                  <a:pt x="0" y="4890936"/>
                </a:lnTo>
                <a:lnTo>
                  <a:pt x="0" y="4873660"/>
                </a:lnTo>
                <a:lnTo>
                  <a:pt x="0" y="4845179"/>
                </a:lnTo>
                <a:lnTo>
                  <a:pt x="0" y="4802691"/>
                </a:lnTo>
                <a:lnTo>
                  <a:pt x="0" y="4743394"/>
                </a:lnTo>
                <a:lnTo>
                  <a:pt x="0" y="4664487"/>
                </a:lnTo>
                <a:lnTo>
                  <a:pt x="0" y="4629302"/>
                </a:lnTo>
                <a:lnTo>
                  <a:pt x="0" y="4628196"/>
                </a:lnTo>
                <a:lnTo>
                  <a:pt x="0" y="4620448"/>
                </a:lnTo>
                <a:lnTo>
                  <a:pt x="0" y="4599605"/>
                </a:lnTo>
                <a:lnTo>
                  <a:pt x="0" y="4599420"/>
                </a:lnTo>
                <a:lnTo>
                  <a:pt x="0" y="4558471"/>
                </a:lnTo>
                <a:lnTo>
                  <a:pt x="0" y="4528451"/>
                </a:lnTo>
                <a:lnTo>
                  <a:pt x="0" y="4523932"/>
                </a:lnTo>
                <a:lnTo>
                  <a:pt x="0" y="4490960"/>
                </a:lnTo>
                <a:lnTo>
                  <a:pt x="0" y="4445169"/>
                </a:lnTo>
                <a:lnTo>
                  <a:pt x="0" y="4436638"/>
                </a:lnTo>
                <a:lnTo>
                  <a:pt x="0" y="4390247"/>
                </a:lnTo>
                <a:lnTo>
                  <a:pt x="0" y="4336893"/>
                </a:lnTo>
                <a:lnTo>
                  <a:pt x="0" y="4325365"/>
                </a:lnTo>
                <a:lnTo>
                  <a:pt x="0" y="4249692"/>
                </a:lnTo>
                <a:lnTo>
                  <a:pt x="0" y="4223868"/>
                </a:lnTo>
                <a:lnTo>
                  <a:pt x="0" y="4162398"/>
                </a:lnTo>
                <a:lnTo>
                  <a:pt x="0" y="4096731"/>
                </a:lnTo>
                <a:lnTo>
                  <a:pt x="0" y="4062653"/>
                </a:lnTo>
                <a:lnTo>
                  <a:pt x="0" y="3983128"/>
                </a:lnTo>
                <a:lnTo>
                  <a:pt x="0" y="3979393"/>
                </a:lnTo>
                <a:lnTo>
                  <a:pt x="0" y="3970522"/>
                </a:lnTo>
                <a:lnTo>
                  <a:pt x="0" y="3954654"/>
                </a:lnTo>
                <a:lnTo>
                  <a:pt x="0" y="3953246"/>
                </a:lnTo>
                <a:lnTo>
                  <a:pt x="0" y="3949628"/>
                </a:lnTo>
                <a:lnTo>
                  <a:pt x="0" y="3924765"/>
                </a:lnTo>
                <a:lnTo>
                  <a:pt x="0" y="3882277"/>
                </a:lnTo>
                <a:lnTo>
                  <a:pt x="0" y="3822980"/>
                </a:lnTo>
                <a:lnTo>
                  <a:pt x="0" y="3822491"/>
                </a:lnTo>
                <a:lnTo>
                  <a:pt x="0" y="3796806"/>
                </a:lnTo>
                <a:lnTo>
                  <a:pt x="0" y="3744073"/>
                </a:lnTo>
                <a:lnTo>
                  <a:pt x="0" y="3708888"/>
                </a:lnTo>
                <a:lnTo>
                  <a:pt x="0" y="3707782"/>
                </a:lnTo>
                <a:lnTo>
                  <a:pt x="0" y="3700034"/>
                </a:lnTo>
                <a:lnTo>
                  <a:pt x="0" y="3680414"/>
                </a:lnTo>
                <a:lnTo>
                  <a:pt x="0" y="3679191"/>
                </a:lnTo>
                <a:lnTo>
                  <a:pt x="0" y="3679006"/>
                </a:lnTo>
                <a:lnTo>
                  <a:pt x="0" y="3638057"/>
                </a:lnTo>
                <a:lnTo>
                  <a:pt x="0" y="3622356"/>
                </a:lnTo>
                <a:lnTo>
                  <a:pt x="0" y="3608037"/>
                </a:lnTo>
                <a:lnTo>
                  <a:pt x="0" y="3603518"/>
                </a:lnTo>
                <a:lnTo>
                  <a:pt x="0" y="3570546"/>
                </a:lnTo>
                <a:lnTo>
                  <a:pt x="0" y="3524755"/>
                </a:lnTo>
                <a:lnTo>
                  <a:pt x="0" y="3522566"/>
                </a:lnTo>
                <a:lnTo>
                  <a:pt x="0" y="3516224"/>
                </a:lnTo>
                <a:lnTo>
                  <a:pt x="0" y="3469833"/>
                </a:lnTo>
                <a:lnTo>
                  <a:pt x="0" y="3430476"/>
                </a:lnTo>
                <a:lnTo>
                  <a:pt x="0" y="3416479"/>
                </a:lnTo>
                <a:lnTo>
                  <a:pt x="0" y="3404951"/>
                </a:lnTo>
                <a:lnTo>
                  <a:pt x="0" y="3348116"/>
                </a:lnTo>
                <a:lnTo>
                  <a:pt x="0" y="3329278"/>
                </a:lnTo>
                <a:lnTo>
                  <a:pt x="0" y="3303454"/>
                </a:lnTo>
                <a:lnTo>
                  <a:pt x="0" y="3241984"/>
                </a:lnTo>
                <a:lnTo>
                  <a:pt x="0" y="3220334"/>
                </a:lnTo>
                <a:lnTo>
                  <a:pt x="0" y="3176317"/>
                </a:lnTo>
                <a:lnTo>
                  <a:pt x="0" y="3156236"/>
                </a:lnTo>
                <a:lnTo>
                  <a:pt x="0" y="3142239"/>
                </a:lnTo>
                <a:lnTo>
                  <a:pt x="0" y="3034240"/>
                </a:lnTo>
                <a:lnTo>
                  <a:pt x="0" y="3029214"/>
                </a:lnTo>
                <a:lnTo>
                  <a:pt x="0" y="2991101"/>
                </a:lnTo>
                <a:lnTo>
                  <a:pt x="0" y="2946094"/>
                </a:lnTo>
                <a:lnTo>
                  <a:pt x="0" y="2902077"/>
                </a:lnTo>
                <a:lnTo>
                  <a:pt x="0" y="2876392"/>
                </a:lnTo>
                <a:lnTo>
                  <a:pt x="0" y="2790282"/>
                </a:lnTo>
                <a:lnTo>
                  <a:pt x="0" y="2787072"/>
                </a:lnTo>
                <a:lnTo>
                  <a:pt x="0" y="2760000"/>
                </a:lnTo>
                <a:lnTo>
                  <a:pt x="0" y="2741948"/>
                </a:lnTo>
                <a:lnTo>
                  <a:pt x="0" y="2741947"/>
                </a:lnTo>
                <a:lnTo>
                  <a:pt x="0" y="2716862"/>
                </a:lnTo>
                <a:lnTo>
                  <a:pt x="0" y="2716861"/>
                </a:lnTo>
                <a:lnTo>
                  <a:pt x="0" y="2701942"/>
                </a:lnTo>
                <a:lnTo>
                  <a:pt x="0" y="2602152"/>
                </a:lnTo>
                <a:lnTo>
                  <a:pt x="0" y="2512832"/>
                </a:lnTo>
                <a:lnTo>
                  <a:pt x="0" y="2510062"/>
                </a:lnTo>
                <a:lnTo>
                  <a:pt x="0" y="2472043"/>
                </a:lnTo>
                <a:lnTo>
                  <a:pt x="0" y="2472042"/>
                </a:lnTo>
                <a:lnTo>
                  <a:pt x="0" y="2467708"/>
                </a:lnTo>
                <a:lnTo>
                  <a:pt x="0" y="2467707"/>
                </a:lnTo>
                <a:lnTo>
                  <a:pt x="0" y="2449933"/>
                </a:lnTo>
                <a:lnTo>
                  <a:pt x="0" y="2427702"/>
                </a:lnTo>
                <a:lnTo>
                  <a:pt x="0" y="2299920"/>
                </a:lnTo>
                <a:lnTo>
                  <a:pt x="0" y="2235822"/>
                </a:lnTo>
                <a:lnTo>
                  <a:pt x="0" y="2197803"/>
                </a:lnTo>
                <a:lnTo>
                  <a:pt x="0" y="2197802"/>
                </a:lnTo>
                <a:lnTo>
                  <a:pt x="0" y="2180556"/>
                </a:lnTo>
                <a:lnTo>
                  <a:pt x="0" y="2180555"/>
                </a:lnTo>
                <a:lnTo>
                  <a:pt x="0" y="2175692"/>
                </a:lnTo>
                <a:lnTo>
                  <a:pt x="0" y="2088721"/>
                </a:lnTo>
                <a:lnTo>
                  <a:pt x="0" y="2070687"/>
                </a:lnTo>
                <a:lnTo>
                  <a:pt x="0" y="2025680"/>
                </a:lnTo>
                <a:lnTo>
                  <a:pt x="0" y="1906316"/>
                </a:lnTo>
                <a:lnTo>
                  <a:pt x="0" y="1906315"/>
                </a:lnTo>
                <a:lnTo>
                  <a:pt x="0" y="1866658"/>
                </a:lnTo>
                <a:lnTo>
                  <a:pt x="0" y="1866657"/>
                </a:lnTo>
                <a:lnTo>
                  <a:pt x="0" y="1821533"/>
                </a:lnTo>
                <a:lnTo>
                  <a:pt x="0" y="1814481"/>
                </a:lnTo>
                <a:lnTo>
                  <a:pt x="0" y="1796447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92417"/>
                </a:lnTo>
                <a:lnTo>
                  <a:pt x="0" y="1551628"/>
                </a:lnTo>
                <a:lnTo>
                  <a:pt x="0" y="1547293"/>
                </a:lnTo>
                <a:lnTo>
                  <a:pt x="0" y="1529519"/>
                </a:lnTo>
                <a:lnTo>
                  <a:pt x="0" y="1529518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77388"/>
                </a:lnTo>
                <a:lnTo>
                  <a:pt x="0" y="1260141"/>
                </a:lnTo>
                <a:lnTo>
                  <a:pt x="0" y="1255278"/>
                </a:lnTo>
                <a:lnTo>
                  <a:pt x="0" y="1255277"/>
                </a:lnTo>
                <a:lnTo>
                  <a:pt x="0" y="1208224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515278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02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 bwMode="gray">
          <a:xfrm>
            <a:off x="566241" y="280736"/>
            <a:ext cx="9099675" cy="5920067"/>
          </a:xfrm>
          <a:custGeom>
            <a:avLst/>
            <a:gdLst>
              <a:gd name="connsiteX0" fmla="*/ 95997 w 11199600"/>
              <a:gd name="connsiteY0" fmla="*/ 0 h 5920067"/>
              <a:gd name="connsiteX1" fmla="*/ 11103603 w 11199600"/>
              <a:gd name="connsiteY1" fmla="*/ 0 h 5920067"/>
              <a:gd name="connsiteX2" fmla="*/ 11199600 w 11199600"/>
              <a:gd name="connsiteY2" fmla="*/ 96110 h 5920067"/>
              <a:gd name="connsiteX3" fmla="*/ 11199600 w 11199600"/>
              <a:gd name="connsiteY3" fmla="*/ 335165 h 5920067"/>
              <a:gd name="connsiteX4" fmla="*/ 11199600 w 11199600"/>
              <a:gd name="connsiteY4" fmla="*/ 370350 h 5920067"/>
              <a:gd name="connsiteX5" fmla="*/ 11199600 w 11199600"/>
              <a:gd name="connsiteY5" fmla="*/ 379204 h 5920067"/>
              <a:gd name="connsiteX6" fmla="*/ 11199600 w 11199600"/>
              <a:gd name="connsiteY6" fmla="*/ 400048 h 5920067"/>
              <a:gd name="connsiteX7" fmla="*/ 11199600 w 11199600"/>
              <a:gd name="connsiteY7" fmla="*/ 400232 h 5920067"/>
              <a:gd name="connsiteX8" fmla="*/ 11199600 w 11199600"/>
              <a:gd name="connsiteY8" fmla="*/ 471202 h 5920067"/>
              <a:gd name="connsiteX9" fmla="*/ 11199600 w 11199600"/>
              <a:gd name="connsiteY9" fmla="*/ 475721 h 5920067"/>
              <a:gd name="connsiteX10" fmla="*/ 11199600 w 11199600"/>
              <a:gd name="connsiteY10" fmla="*/ 508692 h 5920067"/>
              <a:gd name="connsiteX11" fmla="*/ 11199600 w 11199600"/>
              <a:gd name="connsiteY11" fmla="*/ 554484 h 5920067"/>
              <a:gd name="connsiteX12" fmla="*/ 11199600 w 11199600"/>
              <a:gd name="connsiteY12" fmla="*/ 563015 h 5920067"/>
              <a:gd name="connsiteX13" fmla="*/ 11199600 w 11199600"/>
              <a:gd name="connsiteY13" fmla="*/ 609405 h 5920067"/>
              <a:gd name="connsiteX14" fmla="*/ 11199600 w 11199600"/>
              <a:gd name="connsiteY14" fmla="*/ 662759 h 5920067"/>
              <a:gd name="connsiteX15" fmla="*/ 11199600 w 11199600"/>
              <a:gd name="connsiteY15" fmla="*/ 674288 h 5920067"/>
              <a:gd name="connsiteX16" fmla="*/ 11199600 w 11199600"/>
              <a:gd name="connsiteY16" fmla="*/ 749961 h 5920067"/>
              <a:gd name="connsiteX17" fmla="*/ 11199600 w 11199600"/>
              <a:gd name="connsiteY17" fmla="*/ 775785 h 5920067"/>
              <a:gd name="connsiteX18" fmla="*/ 11199600 w 11199600"/>
              <a:gd name="connsiteY18" fmla="*/ 837255 h 5920067"/>
              <a:gd name="connsiteX19" fmla="*/ 11199600 w 11199600"/>
              <a:gd name="connsiteY19" fmla="*/ 902921 h 5920067"/>
              <a:gd name="connsiteX20" fmla="*/ 11199600 w 11199600"/>
              <a:gd name="connsiteY20" fmla="*/ 936999 h 5920067"/>
              <a:gd name="connsiteX21" fmla="*/ 11199600 w 11199600"/>
              <a:gd name="connsiteY21" fmla="*/ 1016524 h 5920067"/>
              <a:gd name="connsiteX22" fmla="*/ 11199600 w 11199600"/>
              <a:gd name="connsiteY22" fmla="*/ 1029131 h 5920067"/>
              <a:gd name="connsiteX23" fmla="*/ 11199600 w 11199600"/>
              <a:gd name="connsiteY23" fmla="*/ 1044999 h 5920067"/>
              <a:gd name="connsiteX24" fmla="*/ 11199600 w 11199600"/>
              <a:gd name="connsiteY24" fmla="*/ 1046406 h 5920067"/>
              <a:gd name="connsiteX25" fmla="*/ 11199600 w 11199600"/>
              <a:gd name="connsiteY25" fmla="*/ 1050025 h 5920067"/>
              <a:gd name="connsiteX26" fmla="*/ 11199600 w 11199600"/>
              <a:gd name="connsiteY26" fmla="*/ 1074887 h 5920067"/>
              <a:gd name="connsiteX27" fmla="*/ 11199600 w 11199600"/>
              <a:gd name="connsiteY27" fmla="*/ 1176672 h 5920067"/>
              <a:gd name="connsiteX28" fmla="*/ 11199600 w 11199600"/>
              <a:gd name="connsiteY28" fmla="*/ 1177161 h 5920067"/>
              <a:gd name="connsiteX29" fmla="*/ 11199600 w 11199600"/>
              <a:gd name="connsiteY29" fmla="*/ 1202847 h 5920067"/>
              <a:gd name="connsiteX30" fmla="*/ 11199600 w 11199600"/>
              <a:gd name="connsiteY30" fmla="*/ 1255579 h 5920067"/>
              <a:gd name="connsiteX31" fmla="*/ 11199600 w 11199600"/>
              <a:gd name="connsiteY31" fmla="*/ 1290764 h 5920067"/>
              <a:gd name="connsiteX32" fmla="*/ 11199600 w 11199600"/>
              <a:gd name="connsiteY32" fmla="*/ 1299618 h 5920067"/>
              <a:gd name="connsiteX33" fmla="*/ 11199600 w 11199600"/>
              <a:gd name="connsiteY33" fmla="*/ 1319239 h 5920067"/>
              <a:gd name="connsiteX34" fmla="*/ 11199600 w 11199600"/>
              <a:gd name="connsiteY34" fmla="*/ 1320462 h 5920067"/>
              <a:gd name="connsiteX35" fmla="*/ 11199600 w 11199600"/>
              <a:gd name="connsiteY35" fmla="*/ 1320646 h 5920067"/>
              <a:gd name="connsiteX36" fmla="*/ 11199600 w 11199600"/>
              <a:gd name="connsiteY36" fmla="*/ 1349128 h 5920067"/>
              <a:gd name="connsiteX37" fmla="*/ 11199600 w 11199600"/>
              <a:gd name="connsiteY37" fmla="*/ 1377296 h 5920067"/>
              <a:gd name="connsiteX38" fmla="*/ 11199600 w 11199600"/>
              <a:gd name="connsiteY38" fmla="*/ 1391616 h 5920067"/>
              <a:gd name="connsiteX39" fmla="*/ 11199600 w 11199600"/>
              <a:gd name="connsiteY39" fmla="*/ 1396135 h 5920067"/>
              <a:gd name="connsiteX40" fmla="*/ 11199600 w 11199600"/>
              <a:gd name="connsiteY40" fmla="*/ 1429106 h 5920067"/>
              <a:gd name="connsiteX41" fmla="*/ 11199600 w 11199600"/>
              <a:gd name="connsiteY41" fmla="*/ 1474898 h 5920067"/>
              <a:gd name="connsiteX42" fmla="*/ 11199600 w 11199600"/>
              <a:gd name="connsiteY42" fmla="*/ 1477087 h 5920067"/>
              <a:gd name="connsiteX43" fmla="*/ 11199600 w 11199600"/>
              <a:gd name="connsiteY43" fmla="*/ 1483429 h 5920067"/>
              <a:gd name="connsiteX44" fmla="*/ 11199600 w 11199600"/>
              <a:gd name="connsiteY44" fmla="*/ 1529819 h 5920067"/>
              <a:gd name="connsiteX45" fmla="*/ 11199600 w 11199600"/>
              <a:gd name="connsiteY45" fmla="*/ 1569177 h 5920067"/>
              <a:gd name="connsiteX46" fmla="*/ 11199600 w 11199600"/>
              <a:gd name="connsiteY46" fmla="*/ 1583173 h 5920067"/>
              <a:gd name="connsiteX47" fmla="*/ 11199600 w 11199600"/>
              <a:gd name="connsiteY47" fmla="*/ 1594702 h 5920067"/>
              <a:gd name="connsiteX48" fmla="*/ 11199600 w 11199600"/>
              <a:gd name="connsiteY48" fmla="*/ 1651536 h 5920067"/>
              <a:gd name="connsiteX49" fmla="*/ 11199600 w 11199600"/>
              <a:gd name="connsiteY49" fmla="*/ 1670375 h 5920067"/>
              <a:gd name="connsiteX50" fmla="*/ 11199600 w 11199600"/>
              <a:gd name="connsiteY50" fmla="*/ 1696199 h 5920067"/>
              <a:gd name="connsiteX51" fmla="*/ 11199600 w 11199600"/>
              <a:gd name="connsiteY51" fmla="*/ 1757669 h 5920067"/>
              <a:gd name="connsiteX52" fmla="*/ 11199600 w 11199600"/>
              <a:gd name="connsiteY52" fmla="*/ 1779318 h 5920067"/>
              <a:gd name="connsiteX53" fmla="*/ 11199600 w 11199600"/>
              <a:gd name="connsiteY53" fmla="*/ 1823335 h 5920067"/>
              <a:gd name="connsiteX54" fmla="*/ 11199600 w 11199600"/>
              <a:gd name="connsiteY54" fmla="*/ 1843417 h 5920067"/>
              <a:gd name="connsiteX55" fmla="*/ 11199600 w 11199600"/>
              <a:gd name="connsiteY55" fmla="*/ 1857413 h 5920067"/>
              <a:gd name="connsiteX56" fmla="*/ 11199600 w 11199600"/>
              <a:gd name="connsiteY56" fmla="*/ 1965413 h 5920067"/>
              <a:gd name="connsiteX57" fmla="*/ 11199600 w 11199600"/>
              <a:gd name="connsiteY57" fmla="*/ 1970439 h 5920067"/>
              <a:gd name="connsiteX58" fmla="*/ 11199600 w 11199600"/>
              <a:gd name="connsiteY58" fmla="*/ 2008551 h 5920067"/>
              <a:gd name="connsiteX59" fmla="*/ 11199600 w 11199600"/>
              <a:gd name="connsiteY59" fmla="*/ 2053558 h 5920067"/>
              <a:gd name="connsiteX60" fmla="*/ 11199600 w 11199600"/>
              <a:gd name="connsiteY60" fmla="*/ 2097575 h 5920067"/>
              <a:gd name="connsiteX61" fmla="*/ 11199600 w 11199600"/>
              <a:gd name="connsiteY61" fmla="*/ 2123261 h 5920067"/>
              <a:gd name="connsiteX62" fmla="*/ 11199600 w 11199600"/>
              <a:gd name="connsiteY62" fmla="*/ 2239653 h 5920067"/>
              <a:gd name="connsiteX63" fmla="*/ 11199600 w 11199600"/>
              <a:gd name="connsiteY63" fmla="*/ 2257705 h 5920067"/>
              <a:gd name="connsiteX64" fmla="*/ 11199600 w 11199600"/>
              <a:gd name="connsiteY64" fmla="*/ 2282791 h 5920067"/>
              <a:gd name="connsiteX65" fmla="*/ 11199600 w 11199600"/>
              <a:gd name="connsiteY65" fmla="*/ 2297710 h 5920067"/>
              <a:gd name="connsiteX66" fmla="*/ 11199600 w 11199600"/>
              <a:gd name="connsiteY66" fmla="*/ 2397501 h 5920067"/>
              <a:gd name="connsiteX67" fmla="*/ 11199600 w 11199600"/>
              <a:gd name="connsiteY67" fmla="*/ 2489591 h 5920067"/>
              <a:gd name="connsiteX68" fmla="*/ 11199600 w 11199600"/>
              <a:gd name="connsiteY68" fmla="*/ 2527610 h 5920067"/>
              <a:gd name="connsiteX69" fmla="*/ 11199600 w 11199600"/>
              <a:gd name="connsiteY69" fmla="*/ 2531945 h 5920067"/>
              <a:gd name="connsiteX70" fmla="*/ 11199600 w 11199600"/>
              <a:gd name="connsiteY70" fmla="*/ 2571950 h 5920067"/>
              <a:gd name="connsiteX71" fmla="*/ 11199600 w 11199600"/>
              <a:gd name="connsiteY71" fmla="*/ 2699732 h 5920067"/>
              <a:gd name="connsiteX72" fmla="*/ 11199600 w 11199600"/>
              <a:gd name="connsiteY72" fmla="*/ 2763831 h 5920067"/>
              <a:gd name="connsiteX73" fmla="*/ 11199600 w 11199600"/>
              <a:gd name="connsiteY73" fmla="*/ 2801851 h 5920067"/>
              <a:gd name="connsiteX74" fmla="*/ 11199600 w 11199600"/>
              <a:gd name="connsiteY74" fmla="*/ 2819097 h 5920067"/>
              <a:gd name="connsiteX75" fmla="*/ 11199600 w 11199600"/>
              <a:gd name="connsiteY75" fmla="*/ 2928965 h 5920067"/>
              <a:gd name="connsiteX76" fmla="*/ 11199600 w 11199600"/>
              <a:gd name="connsiteY76" fmla="*/ 2973972 h 5920067"/>
              <a:gd name="connsiteX77" fmla="*/ 11199600 w 11199600"/>
              <a:gd name="connsiteY77" fmla="*/ 3093337 h 5920067"/>
              <a:gd name="connsiteX78" fmla="*/ 11199600 w 11199600"/>
              <a:gd name="connsiteY78" fmla="*/ 3132995 h 5920067"/>
              <a:gd name="connsiteX79" fmla="*/ 11199600 w 11199600"/>
              <a:gd name="connsiteY79" fmla="*/ 3178119 h 5920067"/>
              <a:gd name="connsiteX80" fmla="*/ 11199600 w 11199600"/>
              <a:gd name="connsiteY80" fmla="*/ 3203205 h 5920067"/>
              <a:gd name="connsiteX81" fmla="*/ 11199600 w 11199600"/>
              <a:gd name="connsiteY81" fmla="*/ 3407236 h 5920067"/>
              <a:gd name="connsiteX82" fmla="*/ 11199600 w 11199600"/>
              <a:gd name="connsiteY82" fmla="*/ 3448024 h 5920067"/>
              <a:gd name="connsiteX83" fmla="*/ 11199600 w 11199600"/>
              <a:gd name="connsiteY83" fmla="*/ 3452359 h 5920067"/>
              <a:gd name="connsiteX84" fmla="*/ 11199600 w 11199600"/>
              <a:gd name="connsiteY84" fmla="*/ 3470135 h 5920067"/>
              <a:gd name="connsiteX85" fmla="*/ 11199600 w 11199600"/>
              <a:gd name="connsiteY85" fmla="*/ 3722265 h 5920067"/>
              <a:gd name="connsiteX86" fmla="*/ 11199600 w 11199600"/>
              <a:gd name="connsiteY86" fmla="*/ 3739511 h 5920067"/>
              <a:gd name="connsiteX87" fmla="*/ 11199600 w 11199600"/>
              <a:gd name="connsiteY87" fmla="*/ 3744375 h 5920067"/>
              <a:gd name="connsiteX88" fmla="*/ 11199600 w 11199600"/>
              <a:gd name="connsiteY88" fmla="*/ 3831346 h 5920067"/>
              <a:gd name="connsiteX89" fmla="*/ 11199600 w 11199600"/>
              <a:gd name="connsiteY89" fmla="*/ 4013751 h 5920067"/>
              <a:gd name="connsiteX90" fmla="*/ 11199600 w 11199600"/>
              <a:gd name="connsiteY90" fmla="*/ 4053409 h 5920067"/>
              <a:gd name="connsiteX91" fmla="*/ 11199600 w 11199600"/>
              <a:gd name="connsiteY91" fmla="*/ 4105586 h 5920067"/>
              <a:gd name="connsiteX92" fmla="*/ 11199600 w 11199600"/>
              <a:gd name="connsiteY92" fmla="*/ 4217459 h 5920067"/>
              <a:gd name="connsiteX93" fmla="*/ 11199600 w 11199600"/>
              <a:gd name="connsiteY93" fmla="*/ 4327650 h 5920067"/>
              <a:gd name="connsiteX94" fmla="*/ 11199600 w 11199600"/>
              <a:gd name="connsiteY94" fmla="*/ 4390549 h 5920067"/>
              <a:gd name="connsiteX95" fmla="*/ 11199600 w 11199600"/>
              <a:gd name="connsiteY95" fmla="*/ 4491699 h 5920067"/>
              <a:gd name="connsiteX96" fmla="*/ 11199600 w 11199600"/>
              <a:gd name="connsiteY96" fmla="*/ 4629303 h 5920067"/>
              <a:gd name="connsiteX97" fmla="*/ 11199600 w 11199600"/>
              <a:gd name="connsiteY97" fmla="*/ 4664789 h 5920067"/>
              <a:gd name="connsiteX98" fmla="*/ 11199600 w 11199600"/>
              <a:gd name="connsiteY98" fmla="*/ 4751760 h 5920067"/>
              <a:gd name="connsiteX99" fmla="*/ 11199600 w 11199600"/>
              <a:gd name="connsiteY99" fmla="*/ 4903543 h 5920067"/>
              <a:gd name="connsiteX100" fmla="*/ 11199600 w 11199600"/>
              <a:gd name="connsiteY100" fmla="*/ 5026000 h 5920067"/>
              <a:gd name="connsiteX101" fmla="*/ 11199600 w 11199600"/>
              <a:gd name="connsiteY101" fmla="*/ 5137873 h 5920067"/>
              <a:gd name="connsiteX102" fmla="*/ 11199600 w 11199600"/>
              <a:gd name="connsiteY102" fmla="*/ 5412113 h 5920067"/>
              <a:gd name="connsiteX103" fmla="*/ 11199600 w 11199600"/>
              <a:gd name="connsiteY103" fmla="*/ 5549717 h 5920067"/>
              <a:gd name="connsiteX104" fmla="*/ 11199600 w 11199600"/>
              <a:gd name="connsiteY104" fmla="*/ 5823957 h 5920067"/>
              <a:gd name="connsiteX105" fmla="*/ 11103603 w 11199600"/>
              <a:gd name="connsiteY105" fmla="*/ 5920067 h 5920067"/>
              <a:gd name="connsiteX106" fmla="*/ 95997 w 11199600"/>
              <a:gd name="connsiteY106" fmla="*/ 5920067 h 5920067"/>
              <a:gd name="connsiteX107" fmla="*/ 0 w 11199600"/>
              <a:gd name="connsiteY107" fmla="*/ 5823957 h 5920067"/>
              <a:gd name="connsiteX108" fmla="*/ 0 w 11199600"/>
              <a:gd name="connsiteY108" fmla="*/ 5820222 h 5920067"/>
              <a:gd name="connsiteX109" fmla="*/ 0 w 11199600"/>
              <a:gd name="connsiteY109" fmla="*/ 5811351 h 5920067"/>
              <a:gd name="connsiteX110" fmla="*/ 0 w 11199600"/>
              <a:gd name="connsiteY110" fmla="*/ 5794075 h 5920067"/>
              <a:gd name="connsiteX111" fmla="*/ 0 w 11199600"/>
              <a:gd name="connsiteY111" fmla="*/ 5765594 h 5920067"/>
              <a:gd name="connsiteX112" fmla="*/ 0 w 11199600"/>
              <a:gd name="connsiteY112" fmla="*/ 5723106 h 5920067"/>
              <a:gd name="connsiteX113" fmla="*/ 0 w 11199600"/>
              <a:gd name="connsiteY113" fmla="*/ 5663809 h 5920067"/>
              <a:gd name="connsiteX114" fmla="*/ 0 w 11199600"/>
              <a:gd name="connsiteY114" fmla="*/ 5584902 h 5920067"/>
              <a:gd name="connsiteX115" fmla="*/ 0 w 11199600"/>
              <a:gd name="connsiteY115" fmla="*/ 5549717 h 5920067"/>
              <a:gd name="connsiteX116" fmla="*/ 0 w 11199600"/>
              <a:gd name="connsiteY116" fmla="*/ 5548611 h 5920067"/>
              <a:gd name="connsiteX117" fmla="*/ 0 w 11199600"/>
              <a:gd name="connsiteY117" fmla="*/ 5540863 h 5920067"/>
              <a:gd name="connsiteX118" fmla="*/ 0 w 11199600"/>
              <a:gd name="connsiteY118" fmla="*/ 5520020 h 5920067"/>
              <a:gd name="connsiteX119" fmla="*/ 0 w 11199600"/>
              <a:gd name="connsiteY119" fmla="*/ 5519835 h 5920067"/>
              <a:gd name="connsiteX120" fmla="*/ 0 w 11199600"/>
              <a:gd name="connsiteY120" fmla="*/ 5478886 h 5920067"/>
              <a:gd name="connsiteX121" fmla="*/ 0 w 11199600"/>
              <a:gd name="connsiteY121" fmla="*/ 5448866 h 5920067"/>
              <a:gd name="connsiteX122" fmla="*/ 0 w 11199600"/>
              <a:gd name="connsiteY122" fmla="*/ 5444347 h 5920067"/>
              <a:gd name="connsiteX123" fmla="*/ 0 w 11199600"/>
              <a:gd name="connsiteY123" fmla="*/ 5411375 h 5920067"/>
              <a:gd name="connsiteX124" fmla="*/ 0 w 11199600"/>
              <a:gd name="connsiteY124" fmla="*/ 5365584 h 5920067"/>
              <a:gd name="connsiteX125" fmla="*/ 0 w 11199600"/>
              <a:gd name="connsiteY125" fmla="*/ 5357053 h 5920067"/>
              <a:gd name="connsiteX126" fmla="*/ 0 w 11199600"/>
              <a:gd name="connsiteY126" fmla="*/ 5310662 h 5920067"/>
              <a:gd name="connsiteX127" fmla="*/ 0 w 11199600"/>
              <a:gd name="connsiteY127" fmla="*/ 5257308 h 5920067"/>
              <a:gd name="connsiteX128" fmla="*/ 0 w 11199600"/>
              <a:gd name="connsiteY128" fmla="*/ 5245780 h 5920067"/>
              <a:gd name="connsiteX129" fmla="*/ 0 w 11199600"/>
              <a:gd name="connsiteY129" fmla="*/ 5170107 h 5920067"/>
              <a:gd name="connsiteX130" fmla="*/ 0 w 11199600"/>
              <a:gd name="connsiteY130" fmla="*/ 5144283 h 5920067"/>
              <a:gd name="connsiteX131" fmla="*/ 0 w 11199600"/>
              <a:gd name="connsiteY131" fmla="*/ 5082813 h 5920067"/>
              <a:gd name="connsiteX132" fmla="*/ 0 w 11199600"/>
              <a:gd name="connsiteY132" fmla="*/ 5017146 h 5920067"/>
              <a:gd name="connsiteX133" fmla="*/ 0 w 11199600"/>
              <a:gd name="connsiteY133" fmla="*/ 4983068 h 5920067"/>
              <a:gd name="connsiteX134" fmla="*/ 0 w 11199600"/>
              <a:gd name="connsiteY134" fmla="*/ 4903543 h 5920067"/>
              <a:gd name="connsiteX135" fmla="*/ 0 w 11199600"/>
              <a:gd name="connsiteY135" fmla="*/ 4899808 h 5920067"/>
              <a:gd name="connsiteX136" fmla="*/ 0 w 11199600"/>
              <a:gd name="connsiteY136" fmla="*/ 4890937 h 5920067"/>
              <a:gd name="connsiteX137" fmla="*/ 0 w 11199600"/>
              <a:gd name="connsiteY137" fmla="*/ 4875069 h 5920067"/>
              <a:gd name="connsiteX138" fmla="*/ 0 w 11199600"/>
              <a:gd name="connsiteY138" fmla="*/ 4873661 h 5920067"/>
              <a:gd name="connsiteX139" fmla="*/ 0 w 11199600"/>
              <a:gd name="connsiteY139" fmla="*/ 4870043 h 5920067"/>
              <a:gd name="connsiteX140" fmla="*/ 0 w 11199600"/>
              <a:gd name="connsiteY140" fmla="*/ 4845180 h 5920067"/>
              <a:gd name="connsiteX141" fmla="*/ 0 w 11199600"/>
              <a:gd name="connsiteY141" fmla="*/ 4802692 h 5920067"/>
              <a:gd name="connsiteX142" fmla="*/ 0 w 11199600"/>
              <a:gd name="connsiteY142" fmla="*/ 4743395 h 5920067"/>
              <a:gd name="connsiteX143" fmla="*/ 0 w 11199600"/>
              <a:gd name="connsiteY143" fmla="*/ 4742906 h 5920067"/>
              <a:gd name="connsiteX144" fmla="*/ 0 w 11199600"/>
              <a:gd name="connsiteY144" fmla="*/ 4717221 h 5920067"/>
              <a:gd name="connsiteX145" fmla="*/ 0 w 11199600"/>
              <a:gd name="connsiteY145" fmla="*/ 4664488 h 5920067"/>
              <a:gd name="connsiteX146" fmla="*/ 0 w 11199600"/>
              <a:gd name="connsiteY146" fmla="*/ 4629303 h 5920067"/>
              <a:gd name="connsiteX147" fmla="*/ 0 w 11199600"/>
              <a:gd name="connsiteY147" fmla="*/ 4628197 h 5920067"/>
              <a:gd name="connsiteX148" fmla="*/ 0 w 11199600"/>
              <a:gd name="connsiteY148" fmla="*/ 4620449 h 5920067"/>
              <a:gd name="connsiteX149" fmla="*/ 0 w 11199600"/>
              <a:gd name="connsiteY149" fmla="*/ 4600829 h 5920067"/>
              <a:gd name="connsiteX150" fmla="*/ 0 w 11199600"/>
              <a:gd name="connsiteY150" fmla="*/ 4599606 h 5920067"/>
              <a:gd name="connsiteX151" fmla="*/ 0 w 11199600"/>
              <a:gd name="connsiteY151" fmla="*/ 4599421 h 5920067"/>
              <a:gd name="connsiteX152" fmla="*/ 0 w 11199600"/>
              <a:gd name="connsiteY152" fmla="*/ 4558472 h 5920067"/>
              <a:gd name="connsiteX153" fmla="*/ 0 w 11199600"/>
              <a:gd name="connsiteY153" fmla="*/ 4542771 h 5920067"/>
              <a:gd name="connsiteX154" fmla="*/ 0 w 11199600"/>
              <a:gd name="connsiteY154" fmla="*/ 4528452 h 5920067"/>
              <a:gd name="connsiteX155" fmla="*/ 0 w 11199600"/>
              <a:gd name="connsiteY155" fmla="*/ 4523933 h 5920067"/>
              <a:gd name="connsiteX156" fmla="*/ 0 w 11199600"/>
              <a:gd name="connsiteY156" fmla="*/ 4490961 h 5920067"/>
              <a:gd name="connsiteX157" fmla="*/ 0 w 11199600"/>
              <a:gd name="connsiteY157" fmla="*/ 4445170 h 5920067"/>
              <a:gd name="connsiteX158" fmla="*/ 0 w 11199600"/>
              <a:gd name="connsiteY158" fmla="*/ 4442981 h 5920067"/>
              <a:gd name="connsiteX159" fmla="*/ 0 w 11199600"/>
              <a:gd name="connsiteY159" fmla="*/ 4436639 h 5920067"/>
              <a:gd name="connsiteX160" fmla="*/ 0 w 11199600"/>
              <a:gd name="connsiteY160" fmla="*/ 4390248 h 5920067"/>
              <a:gd name="connsiteX161" fmla="*/ 0 w 11199600"/>
              <a:gd name="connsiteY161" fmla="*/ 4350891 h 5920067"/>
              <a:gd name="connsiteX162" fmla="*/ 0 w 11199600"/>
              <a:gd name="connsiteY162" fmla="*/ 4336894 h 5920067"/>
              <a:gd name="connsiteX163" fmla="*/ 0 w 11199600"/>
              <a:gd name="connsiteY163" fmla="*/ 4325366 h 5920067"/>
              <a:gd name="connsiteX164" fmla="*/ 0 w 11199600"/>
              <a:gd name="connsiteY164" fmla="*/ 4268531 h 5920067"/>
              <a:gd name="connsiteX165" fmla="*/ 0 w 11199600"/>
              <a:gd name="connsiteY165" fmla="*/ 4249693 h 5920067"/>
              <a:gd name="connsiteX166" fmla="*/ 0 w 11199600"/>
              <a:gd name="connsiteY166" fmla="*/ 4223869 h 5920067"/>
              <a:gd name="connsiteX167" fmla="*/ 0 w 11199600"/>
              <a:gd name="connsiteY167" fmla="*/ 4162399 h 5920067"/>
              <a:gd name="connsiteX168" fmla="*/ 0 w 11199600"/>
              <a:gd name="connsiteY168" fmla="*/ 4140749 h 5920067"/>
              <a:gd name="connsiteX169" fmla="*/ 0 w 11199600"/>
              <a:gd name="connsiteY169" fmla="*/ 4096732 h 5920067"/>
              <a:gd name="connsiteX170" fmla="*/ 0 w 11199600"/>
              <a:gd name="connsiteY170" fmla="*/ 4076651 h 5920067"/>
              <a:gd name="connsiteX171" fmla="*/ 0 w 11199600"/>
              <a:gd name="connsiteY171" fmla="*/ 4062654 h 5920067"/>
              <a:gd name="connsiteX172" fmla="*/ 0 w 11199600"/>
              <a:gd name="connsiteY172" fmla="*/ 3954655 h 5920067"/>
              <a:gd name="connsiteX173" fmla="*/ 0 w 11199600"/>
              <a:gd name="connsiteY173" fmla="*/ 3949629 h 5920067"/>
              <a:gd name="connsiteX174" fmla="*/ 0 w 11199600"/>
              <a:gd name="connsiteY174" fmla="*/ 3911516 h 5920067"/>
              <a:gd name="connsiteX175" fmla="*/ 0 w 11199600"/>
              <a:gd name="connsiteY175" fmla="*/ 3866509 h 5920067"/>
              <a:gd name="connsiteX176" fmla="*/ 0 w 11199600"/>
              <a:gd name="connsiteY176" fmla="*/ 3822492 h 5920067"/>
              <a:gd name="connsiteX177" fmla="*/ 0 w 11199600"/>
              <a:gd name="connsiteY177" fmla="*/ 3796807 h 5920067"/>
              <a:gd name="connsiteX178" fmla="*/ 0 w 11199600"/>
              <a:gd name="connsiteY178" fmla="*/ 3680415 h 5920067"/>
              <a:gd name="connsiteX179" fmla="*/ 0 w 11199600"/>
              <a:gd name="connsiteY179" fmla="*/ 3662362 h 5920067"/>
              <a:gd name="connsiteX180" fmla="*/ 0 w 11199600"/>
              <a:gd name="connsiteY180" fmla="*/ 3637276 h 5920067"/>
              <a:gd name="connsiteX181" fmla="*/ 0 w 11199600"/>
              <a:gd name="connsiteY181" fmla="*/ 3622357 h 5920067"/>
              <a:gd name="connsiteX182" fmla="*/ 0 w 11199600"/>
              <a:gd name="connsiteY182" fmla="*/ 3522567 h 5920067"/>
              <a:gd name="connsiteX183" fmla="*/ 0 w 11199600"/>
              <a:gd name="connsiteY183" fmla="*/ 3430477 h 5920067"/>
              <a:gd name="connsiteX184" fmla="*/ 0 w 11199600"/>
              <a:gd name="connsiteY184" fmla="*/ 3392457 h 5920067"/>
              <a:gd name="connsiteX185" fmla="*/ 0 w 11199600"/>
              <a:gd name="connsiteY185" fmla="*/ 3388122 h 5920067"/>
              <a:gd name="connsiteX186" fmla="*/ 0 w 11199600"/>
              <a:gd name="connsiteY186" fmla="*/ 3348117 h 5920067"/>
              <a:gd name="connsiteX187" fmla="*/ 0 w 11199600"/>
              <a:gd name="connsiteY187" fmla="*/ 3220335 h 5920067"/>
              <a:gd name="connsiteX188" fmla="*/ 0 w 11199600"/>
              <a:gd name="connsiteY188" fmla="*/ 3156237 h 5920067"/>
              <a:gd name="connsiteX189" fmla="*/ 0 w 11199600"/>
              <a:gd name="connsiteY189" fmla="*/ 3118217 h 5920067"/>
              <a:gd name="connsiteX190" fmla="*/ 0 w 11199600"/>
              <a:gd name="connsiteY190" fmla="*/ 3100970 h 5920067"/>
              <a:gd name="connsiteX191" fmla="*/ 0 w 11199600"/>
              <a:gd name="connsiteY191" fmla="*/ 2991102 h 5920067"/>
              <a:gd name="connsiteX192" fmla="*/ 0 w 11199600"/>
              <a:gd name="connsiteY192" fmla="*/ 2946095 h 5920067"/>
              <a:gd name="connsiteX193" fmla="*/ 0 w 11199600"/>
              <a:gd name="connsiteY193" fmla="*/ 2826730 h 5920067"/>
              <a:gd name="connsiteX194" fmla="*/ 0 w 11199600"/>
              <a:gd name="connsiteY194" fmla="*/ 2787072 h 5920067"/>
              <a:gd name="connsiteX195" fmla="*/ 0 w 11199600"/>
              <a:gd name="connsiteY195" fmla="*/ 2741948 h 5920067"/>
              <a:gd name="connsiteX196" fmla="*/ 0 w 11199600"/>
              <a:gd name="connsiteY196" fmla="*/ 2716862 h 5920067"/>
              <a:gd name="connsiteX197" fmla="*/ 0 w 11199600"/>
              <a:gd name="connsiteY197" fmla="*/ 2512832 h 5920067"/>
              <a:gd name="connsiteX198" fmla="*/ 0 w 11199600"/>
              <a:gd name="connsiteY198" fmla="*/ 2472043 h 5920067"/>
              <a:gd name="connsiteX199" fmla="*/ 0 w 11199600"/>
              <a:gd name="connsiteY199" fmla="*/ 2467708 h 5920067"/>
              <a:gd name="connsiteX200" fmla="*/ 0 w 11199600"/>
              <a:gd name="connsiteY200" fmla="*/ 2449933 h 5920067"/>
              <a:gd name="connsiteX201" fmla="*/ 0 w 11199600"/>
              <a:gd name="connsiteY201" fmla="*/ 2197803 h 5920067"/>
              <a:gd name="connsiteX202" fmla="*/ 0 w 11199600"/>
              <a:gd name="connsiteY202" fmla="*/ 2180556 h 5920067"/>
              <a:gd name="connsiteX203" fmla="*/ 0 w 11199600"/>
              <a:gd name="connsiteY203" fmla="*/ 2175692 h 5920067"/>
              <a:gd name="connsiteX204" fmla="*/ 0 w 11199600"/>
              <a:gd name="connsiteY204" fmla="*/ 2088721 h 5920067"/>
              <a:gd name="connsiteX205" fmla="*/ 0 w 11199600"/>
              <a:gd name="connsiteY205" fmla="*/ 1906316 h 5920067"/>
              <a:gd name="connsiteX206" fmla="*/ 0 w 11199600"/>
              <a:gd name="connsiteY206" fmla="*/ 1866658 h 5920067"/>
              <a:gd name="connsiteX207" fmla="*/ 0 w 11199600"/>
              <a:gd name="connsiteY207" fmla="*/ 1814481 h 5920067"/>
              <a:gd name="connsiteX208" fmla="*/ 0 w 11199600"/>
              <a:gd name="connsiteY208" fmla="*/ 1702609 h 5920067"/>
              <a:gd name="connsiteX209" fmla="*/ 0 w 11199600"/>
              <a:gd name="connsiteY209" fmla="*/ 1592418 h 5920067"/>
              <a:gd name="connsiteX210" fmla="*/ 0 w 11199600"/>
              <a:gd name="connsiteY210" fmla="*/ 1529519 h 5920067"/>
              <a:gd name="connsiteX211" fmla="*/ 0 w 11199600"/>
              <a:gd name="connsiteY211" fmla="*/ 1428369 h 5920067"/>
              <a:gd name="connsiteX212" fmla="*/ 0 w 11199600"/>
              <a:gd name="connsiteY212" fmla="*/ 1290764 h 5920067"/>
              <a:gd name="connsiteX213" fmla="*/ 0 w 11199600"/>
              <a:gd name="connsiteY213" fmla="*/ 1255278 h 5920067"/>
              <a:gd name="connsiteX214" fmla="*/ 0 w 11199600"/>
              <a:gd name="connsiteY214" fmla="*/ 1168307 h 5920067"/>
              <a:gd name="connsiteX215" fmla="*/ 0 w 11199600"/>
              <a:gd name="connsiteY215" fmla="*/ 1016524 h 5920067"/>
              <a:gd name="connsiteX216" fmla="*/ 0 w 11199600"/>
              <a:gd name="connsiteY216" fmla="*/ 894067 h 5920067"/>
              <a:gd name="connsiteX217" fmla="*/ 0 w 11199600"/>
              <a:gd name="connsiteY217" fmla="*/ 782195 h 5920067"/>
              <a:gd name="connsiteX218" fmla="*/ 0 w 11199600"/>
              <a:gd name="connsiteY218" fmla="*/ 507955 h 5920067"/>
              <a:gd name="connsiteX219" fmla="*/ 0 w 11199600"/>
              <a:gd name="connsiteY219" fmla="*/ 370350 h 5920067"/>
              <a:gd name="connsiteX220" fmla="*/ 0 w 11199600"/>
              <a:gd name="connsiteY220" fmla="*/ 96110 h 5920067"/>
              <a:gd name="connsiteX221" fmla="*/ 95997 w 11199600"/>
              <a:gd name="connsiteY221" fmla="*/ 0 h 5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</a:cxnLst>
            <a:rect l="l" t="t" r="r" b="b"/>
            <a:pathLst>
              <a:path w="11199600" h="5920067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cubicBezTo>
                  <a:pt x="11199600" y="1328117"/>
                  <a:pt x="11199600" y="1337455"/>
                  <a:pt x="11199600" y="1349128"/>
                </a:cubicBez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239653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9591"/>
                </a:lnTo>
                <a:lnTo>
                  <a:pt x="11199600" y="2527610"/>
                </a:lnTo>
                <a:lnTo>
                  <a:pt x="11199600" y="2531945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801851"/>
                </a:lnTo>
                <a:lnTo>
                  <a:pt x="11199600" y="2819097"/>
                </a:lnTo>
                <a:lnTo>
                  <a:pt x="11199600" y="2928965"/>
                </a:lnTo>
                <a:lnTo>
                  <a:pt x="11199600" y="2973972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178119"/>
                </a:lnTo>
                <a:lnTo>
                  <a:pt x="11199600" y="3203205"/>
                </a:lnTo>
                <a:lnTo>
                  <a:pt x="11199600" y="3407236"/>
                </a:lnTo>
                <a:lnTo>
                  <a:pt x="11199600" y="3448024"/>
                </a:lnTo>
                <a:lnTo>
                  <a:pt x="11199600" y="3452359"/>
                </a:lnTo>
                <a:lnTo>
                  <a:pt x="11199600" y="3470135"/>
                </a:lnTo>
                <a:lnTo>
                  <a:pt x="11199600" y="3722265"/>
                </a:lnTo>
                <a:lnTo>
                  <a:pt x="11199600" y="3739511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013751"/>
                </a:lnTo>
                <a:lnTo>
                  <a:pt x="11199600" y="4053409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327650"/>
                </a:lnTo>
                <a:lnTo>
                  <a:pt x="11199600" y="439054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664789"/>
                </a:lnTo>
                <a:lnTo>
                  <a:pt x="11199600" y="4751760"/>
                </a:lnTo>
                <a:lnTo>
                  <a:pt x="11199600" y="4903543"/>
                </a:lnTo>
                <a:lnTo>
                  <a:pt x="11199600" y="5026000"/>
                </a:lnTo>
                <a:lnTo>
                  <a:pt x="11199600" y="5137873"/>
                </a:lnTo>
                <a:lnTo>
                  <a:pt x="11199600" y="5412113"/>
                </a:lnTo>
                <a:lnTo>
                  <a:pt x="11199600" y="5549717"/>
                </a:lnTo>
                <a:lnTo>
                  <a:pt x="11199600" y="5823957"/>
                </a:lnTo>
                <a:cubicBezTo>
                  <a:pt x="11199600" y="5920067"/>
                  <a:pt x="11103603" y="5920067"/>
                  <a:pt x="11103603" y="5920067"/>
                </a:cubicBezTo>
                <a:cubicBezTo>
                  <a:pt x="11103603" y="5920067"/>
                  <a:pt x="11103603" y="5920067"/>
                  <a:pt x="95997" y="5920067"/>
                </a:cubicBezTo>
                <a:cubicBezTo>
                  <a:pt x="0" y="5920067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2">
              <a:lumMod val="20000"/>
              <a:lumOff val="80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2868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66926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49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51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2"/>
            <a:ext cx="1784250" cy="1317138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/>
              <a:t>Max.</a:t>
            </a:r>
            <a:r>
              <a:rPr lang="en-GB" sz="1000" baseline="0" smtClean="0"/>
              <a:t> width</a:t>
            </a:r>
            <a:endParaRPr lang="en-GB" sz="1000" smtClean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in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31" name="Straight Connector 30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 userDrawn="1"/>
        </p:nvSpPr>
        <p:spPr>
          <a:xfrm>
            <a:off x="-1224174" y="5297121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ax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33" name="Straight Connector 3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Group 5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7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5" name="Picture 4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6" name="Group 45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8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/>
            </a:p>
          </p:txBody>
        </p:sp>
        <p:sp>
          <p:nvSpPr>
            <p:cNvPr id="49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/>
                <a:t>Confidential</a:t>
              </a:r>
              <a:endParaRPr lang="en-GB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46380020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046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 bwMode="gray">
          <a:xfrm>
            <a:off x="5099859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793203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6790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 31"/>
          <p:cNvSpPr>
            <a:spLocks noChangeAspect="1"/>
          </p:cNvSpPr>
          <p:nvPr userDrawn="1"/>
        </p:nvSpPr>
        <p:spPr bwMode="gray">
          <a:xfrm>
            <a:off x="563662" y="1695452"/>
            <a:ext cx="8646300" cy="2630915"/>
          </a:xfrm>
          <a:custGeom>
            <a:avLst/>
            <a:gdLst>
              <a:gd name="T0" fmla="*/ 2480 w 2480"/>
              <a:gd name="T1" fmla="*/ 528 h 611"/>
              <a:gd name="T2" fmla="*/ 2480 w 2480"/>
              <a:gd name="T3" fmla="*/ 32 h 611"/>
              <a:gd name="T4" fmla="*/ 2448 w 2480"/>
              <a:gd name="T5" fmla="*/ 0 h 611"/>
              <a:gd name="T6" fmla="*/ 32 w 2480"/>
              <a:gd name="T7" fmla="*/ 0 h 611"/>
              <a:gd name="T8" fmla="*/ 0 w 2480"/>
              <a:gd name="T9" fmla="*/ 32 h 611"/>
              <a:gd name="T10" fmla="*/ 0 w 2480"/>
              <a:gd name="T11" fmla="*/ 528 h 611"/>
              <a:gd name="T12" fmla="*/ 32 w 2480"/>
              <a:gd name="T13" fmla="*/ 560 h 611"/>
              <a:gd name="T14" fmla="*/ 237 w 2480"/>
              <a:gd name="T15" fmla="*/ 560 h 611"/>
              <a:gd name="T16" fmla="*/ 271 w 2480"/>
              <a:gd name="T17" fmla="*/ 604 h 611"/>
              <a:gd name="T18" fmla="*/ 289 w 2480"/>
              <a:gd name="T19" fmla="*/ 604 h 611"/>
              <a:gd name="T20" fmla="*/ 323 w 2480"/>
              <a:gd name="T21" fmla="*/ 560 h 611"/>
              <a:gd name="T22" fmla="*/ 2448 w 2480"/>
              <a:gd name="T23" fmla="*/ 560 h 611"/>
              <a:gd name="T24" fmla="*/ 2480 w 2480"/>
              <a:gd name="T25" fmla="*/ 528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480" h="611">
                <a:moveTo>
                  <a:pt x="2480" y="528"/>
                </a:moveTo>
                <a:cubicBezTo>
                  <a:pt x="2480" y="32"/>
                  <a:pt x="2480" y="32"/>
                  <a:pt x="2480" y="32"/>
                </a:cubicBezTo>
                <a:cubicBezTo>
                  <a:pt x="2480" y="32"/>
                  <a:pt x="2480" y="0"/>
                  <a:pt x="2448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2" y="0"/>
                  <a:pt x="0" y="0"/>
                  <a:pt x="0" y="32"/>
                </a:cubicBezTo>
                <a:cubicBezTo>
                  <a:pt x="0" y="528"/>
                  <a:pt x="0" y="528"/>
                  <a:pt x="0" y="528"/>
                </a:cubicBezTo>
                <a:cubicBezTo>
                  <a:pt x="0" y="528"/>
                  <a:pt x="0" y="560"/>
                  <a:pt x="32" y="560"/>
                </a:cubicBezTo>
                <a:cubicBezTo>
                  <a:pt x="237" y="560"/>
                  <a:pt x="237" y="560"/>
                  <a:pt x="237" y="560"/>
                </a:cubicBezTo>
                <a:cubicBezTo>
                  <a:pt x="271" y="604"/>
                  <a:pt x="271" y="604"/>
                  <a:pt x="271" y="604"/>
                </a:cubicBezTo>
                <a:cubicBezTo>
                  <a:pt x="276" y="611"/>
                  <a:pt x="284" y="611"/>
                  <a:pt x="289" y="604"/>
                </a:cubicBezTo>
                <a:cubicBezTo>
                  <a:pt x="323" y="560"/>
                  <a:pt x="323" y="560"/>
                  <a:pt x="323" y="560"/>
                </a:cubicBezTo>
                <a:cubicBezTo>
                  <a:pt x="2448" y="560"/>
                  <a:pt x="2448" y="560"/>
                  <a:pt x="2448" y="560"/>
                </a:cubicBezTo>
                <a:cubicBezTo>
                  <a:pt x="2448" y="560"/>
                  <a:pt x="2480" y="560"/>
                  <a:pt x="2480" y="528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952372" y="1695454"/>
            <a:ext cx="8257113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smtClean="0"/>
              <a:t>Klik om de stijl te bewerken</a:t>
            </a:r>
            <a:endParaRPr lang="en-GB" dirty="0"/>
          </a:p>
        </p:txBody>
      </p:sp>
      <p:grpSp>
        <p:nvGrpSpPr>
          <p:cNvPr id="36" name="Group 3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3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4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64295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6644713"/>
              </p:ext>
            </p:extLst>
          </p:nvPr>
        </p:nvGraphicFramePr>
        <p:xfrm>
          <a:off x="1290" y="1590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0" y="1590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/>
          <p:cNvSpPr>
            <a:spLocks/>
          </p:cNvSpPr>
          <p:nvPr userDrawn="1"/>
        </p:nvSpPr>
        <p:spPr bwMode="auto">
          <a:xfrm>
            <a:off x="537586" y="4997450"/>
            <a:ext cx="8830830" cy="852488"/>
          </a:xfrm>
          <a:prstGeom prst="rect">
            <a:avLst/>
          </a:prstGeom>
          <a:solidFill>
            <a:srgbClr val="FFFFFF">
              <a:lumMod val="95000"/>
              <a:alpha val="7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2400" kern="0" dirty="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537585" y="349867"/>
            <a:ext cx="1216680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 dirty="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537586" y="548441"/>
            <a:ext cx="381194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Last Modified 11/20/2015 3:14 PM W. Europe Standard Time</a:t>
            </a:r>
            <a:endParaRPr lang="en-US" sz="11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537586" y="747015"/>
            <a:ext cx="3499356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Printed 11/20/2015 11:18 AM W. Europe Standard Time</a:t>
            </a:r>
            <a:endParaRPr lang="en-US" sz="11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537585" y="4219384"/>
            <a:ext cx="5455758" cy="578249"/>
            <a:chOff x="1663" y="3080"/>
            <a:chExt cx="3109" cy="357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080"/>
              <a:ext cx="3109" cy="1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7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7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537586" y="1853553"/>
            <a:ext cx="7969600" cy="600164"/>
          </a:xfrm>
          <a:prstGeom prst="rect">
            <a:avLst/>
          </a:prstGeom>
        </p:spPr>
        <p:txBody>
          <a:bodyPr/>
          <a:lstStyle>
            <a:lvl1pPr>
              <a:defRPr sz="3900" b="1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537586" y="3205745"/>
            <a:ext cx="7969600" cy="261610"/>
          </a:xfrm>
        </p:spPr>
        <p:txBody>
          <a:bodyPr wrap="square">
            <a:spAutoFit/>
          </a:bodyPr>
          <a:lstStyle>
            <a:lvl1pPr>
              <a:defRPr sz="1700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grpSp>
        <p:nvGrpSpPr>
          <p:cNvPr id="3" name="Group 2"/>
          <p:cNvGrpSpPr>
            <a:grpSpLocks/>
          </p:cNvGrpSpPr>
          <p:nvPr userDrawn="1"/>
        </p:nvGrpSpPr>
        <p:grpSpPr bwMode="auto">
          <a:xfrm>
            <a:off x="537586" y="6321425"/>
            <a:ext cx="8830830" cy="357188"/>
            <a:chOff x="930275" y="6321425"/>
            <a:chExt cx="10874375" cy="357188"/>
          </a:xfrm>
        </p:grpSpPr>
        <p:pic>
          <p:nvPicPr>
            <p:cNvPr id="23" name="Picture 32" descr="thinkforward.png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275" y="6421438"/>
              <a:ext cx="1955800" cy="25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" name="Picture 33"/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66375" y="6321425"/>
              <a:ext cx="1438275" cy="357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6" name="doc id"/>
          <p:cNvSpPr>
            <a:spLocks noChangeArrowheads="1"/>
          </p:cNvSpPr>
          <p:nvPr userDrawn="1"/>
        </p:nvSpPr>
        <p:spPr bwMode="auto">
          <a:xfrm>
            <a:off x="8641916" y="37255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087940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0104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887371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14595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3090066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 userDrawn="1"/>
        </p:nvGrpSpPr>
        <p:grpSpPr bwMode="gray">
          <a:xfrm>
            <a:off x="1" y="1643200"/>
            <a:ext cx="9213354" cy="3055937"/>
            <a:chOff x="409575" y="3144838"/>
            <a:chExt cx="11339513" cy="3055937"/>
          </a:xfrm>
        </p:grpSpPr>
        <p:sp>
          <p:nvSpPr>
            <p:cNvPr id="45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46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1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0" y="3556801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2"/>
            <a:ext cx="1784250" cy="1318571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 userDrawn="1"/>
        </p:nvSpPr>
        <p:spPr>
          <a:xfrm>
            <a:off x="980423" y="7019956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3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in. height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 userDrawn="1"/>
        </p:nvSpPr>
        <p:spPr>
          <a:xfrm>
            <a:off x="-1224174" y="5297119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grpSp>
        <p:nvGrpSpPr>
          <p:cNvPr id="53" name="Group 52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4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5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168893658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5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08525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7"/>
            <a:ext cx="8522455" cy="44051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3"/>
            <a:ext cx="852245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171418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79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1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84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/>
              <a:t>Max.</a:t>
            </a:r>
            <a:r>
              <a:rPr lang="en-GB" sz="1000" baseline="0" smtClean="0"/>
              <a:t> width</a:t>
            </a:r>
            <a:endParaRPr lang="en-GB" sz="1000" smtClean="0"/>
          </a:p>
        </p:txBody>
      </p:sp>
      <p:sp>
        <p:nvSpPr>
          <p:cNvPr id="27" name="TextBox 26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ax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 5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4" name="Picture 4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5" name="Group 44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7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/>
            </a:p>
          </p:txBody>
        </p:sp>
        <p:sp>
          <p:nvSpPr>
            <p:cNvPr id="48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/>
                <a:t>Confidential</a:t>
              </a:r>
              <a:endParaRPr lang="en-GB" sz="1600" dirty="0"/>
            </a:p>
          </p:txBody>
        </p:sp>
      </p:grpSp>
      <p:sp>
        <p:nvSpPr>
          <p:cNvPr id="54" name="Picture Placeholder 53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455011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5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1pPr>
            <a:lvl2pPr marL="538163" indent="-268288">
              <a:buClr>
                <a:schemeClr val="accent2"/>
              </a:buClr>
              <a:buFont typeface="ING Me" pitchFamily="2" charset="0"/>
              <a:buChar char="•"/>
              <a:defRPr/>
            </a:lvl2pPr>
            <a:lvl3pPr marL="804863" indent="-266700">
              <a:buClr>
                <a:schemeClr val="accent3"/>
              </a:buClr>
              <a:defRPr/>
            </a:lvl3pPr>
            <a:lvl4pPr marL="1077913" indent="-260350">
              <a:buClr>
                <a:schemeClr val="accent4"/>
              </a:buClr>
              <a:defRPr/>
            </a:lvl4pPr>
            <a:lvl5pPr marL="1341438" indent="-252413">
              <a:buClr>
                <a:schemeClr val="accent5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28763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5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13570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Group 65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67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68" name="Freeform 67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65" name="Picture Placeholder 64"/>
          <p:cNvSpPr>
            <a:spLocks noGrp="1"/>
          </p:cNvSpPr>
          <p:nvPr>
            <p:ph type="pic" sz="quarter" idx="12"/>
          </p:nvPr>
        </p:nvSpPr>
        <p:spPr bwMode="gray">
          <a:xfrm>
            <a:off x="-2580" y="2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8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8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8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980423" y="7019956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1224174" y="6266693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Group 76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78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9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0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1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2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3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4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5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6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7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8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89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0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1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2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3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4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5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6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7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8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1" name="Picture 4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12539294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49"/>
          <p:cNvGrpSpPr/>
          <p:nvPr userDrawn="1"/>
        </p:nvGrpSpPr>
        <p:grpSpPr bwMode="gray">
          <a:xfrm>
            <a:off x="1" y="1643200"/>
            <a:ext cx="9213354" cy="3055937"/>
            <a:chOff x="409575" y="3144838"/>
            <a:chExt cx="11339513" cy="3055937"/>
          </a:xfrm>
        </p:grpSpPr>
        <p:sp>
          <p:nvSpPr>
            <p:cNvPr id="51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52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1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0" y="3556801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2"/>
            <a:ext cx="1784250" cy="1317138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 userDrawn="1"/>
        </p:nvSpPr>
        <p:spPr>
          <a:xfrm>
            <a:off x="980423" y="7019956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3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in. height</a:t>
            </a:r>
          </a:p>
        </p:txBody>
      </p:sp>
      <p:cxnSp>
        <p:nvCxnSpPr>
          <p:cNvPr id="31" name="Straight Connector 30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 userDrawn="1"/>
        </p:nvSpPr>
        <p:spPr>
          <a:xfrm>
            <a:off x="-1224174" y="5297119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33" name="Straight Connector 3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Group 5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7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5" name="Picture 4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6" name="Group 45"/>
          <p:cNvGrpSpPr/>
          <p:nvPr userDrawn="1"/>
        </p:nvGrpSpPr>
        <p:grpSpPr>
          <a:xfrm>
            <a:off x="8733699" y="-133099"/>
            <a:ext cx="1170834" cy="1565166"/>
            <a:chOff x="5364088" y="4720073"/>
            <a:chExt cx="1441027" cy="1565166"/>
          </a:xfrm>
        </p:grpSpPr>
        <p:sp>
          <p:nvSpPr>
            <p:cNvPr id="48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9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0448658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79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1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85" name="Freeform 84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8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8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8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 userDrawn="1"/>
        </p:nvSpPr>
        <p:spPr>
          <a:xfrm>
            <a:off x="980423" y="7019956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-1224174" y="6266693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 5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4" name="Picture 4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5" name="Group 44"/>
          <p:cNvGrpSpPr/>
          <p:nvPr userDrawn="1"/>
        </p:nvGrpSpPr>
        <p:grpSpPr>
          <a:xfrm>
            <a:off x="8733699" y="-133099"/>
            <a:ext cx="1170834" cy="1565166"/>
            <a:chOff x="5364088" y="4720073"/>
            <a:chExt cx="1441027" cy="1565166"/>
          </a:xfrm>
        </p:grpSpPr>
        <p:sp>
          <p:nvSpPr>
            <p:cNvPr id="47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8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  <p:sp>
        <p:nvSpPr>
          <p:cNvPr id="54" name="Picture Placeholder 53"/>
          <p:cNvSpPr>
            <a:spLocks noGrp="1"/>
          </p:cNvSpPr>
          <p:nvPr>
            <p:ph type="pic" sz="quarter" idx="12"/>
          </p:nvPr>
        </p:nvSpPr>
        <p:spPr bwMode="gray">
          <a:xfrm>
            <a:off x="-2580" y="2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29150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 userDrawn="1"/>
        </p:nvGrpSpPr>
        <p:grpSpPr bwMode="gray">
          <a:xfrm>
            <a:off x="1" y="1643200"/>
            <a:ext cx="9213354" cy="3055937"/>
            <a:chOff x="409575" y="3144838"/>
            <a:chExt cx="11339513" cy="3055937"/>
          </a:xfrm>
        </p:grpSpPr>
        <p:sp>
          <p:nvSpPr>
            <p:cNvPr id="37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39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1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0" y="3556801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3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58"/>
            <a:ext cx="1784250" cy="287825"/>
          </a:xfrm>
          <a:prstGeom prst="rect">
            <a:avLst/>
          </a:prstGeom>
        </p:spPr>
      </p:pic>
      <p:grpSp>
        <p:nvGrpSpPr>
          <p:cNvPr id="44" name="Group 43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5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8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6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73883593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oup 73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75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76" name="Freeform 75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8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8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8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9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58"/>
            <a:ext cx="1784250" cy="287825"/>
          </a:xfrm>
          <a:prstGeom prst="rect">
            <a:avLst/>
          </a:prstGeom>
        </p:spPr>
      </p:pic>
      <p:grpSp>
        <p:nvGrpSpPr>
          <p:cNvPr id="42" name="Group 41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38" name="Picture Placeholder 37"/>
          <p:cNvSpPr>
            <a:spLocks noGrp="1"/>
          </p:cNvSpPr>
          <p:nvPr>
            <p:ph type="pic" sz="quarter" idx="12"/>
          </p:nvPr>
        </p:nvSpPr>
        <p:spPr bwMode="gray">
          <a:xfrm>
            <a:off x="-2580" y="2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59386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37"/>
          <p:cNvGrpSpPr/>
          <p:nvPr userDrawn="1"/>
        </p:nvGrpSpPr>
        <p:grpSpPr bwMode="gray">
          <a:xfrm>
            <a:off x="1" y="1643200"/>
            <a:ext cx="9213354" cy="3055937"/>
            <a:chOff x="409575" y="3144838"/>
            <a:chExt cx="11339513" cy="3055937"/>
          </a:xfrm>
        </p:grpSpPr>
        <p:sp>
          <p:nvSpPr>
            <p:cNvPr id="40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41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1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0" y="3556801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5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58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7" name="Picture 3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2" name="Group 41"/>
          <p:cNvGrpSpPr/>
          <p:nvPr userDrawn="1"/>
        </p:nvGrpSpPr>
        <p:grpSpPr>
          <a:xfrm>
            <a:off x="8733699" y="-133099"/>
            <a:ext cx="1170834" cy="1565166"/>
            <a:chOff x="5364088" y="4720073"/>
            <a:chExt cx="1441027" cy="1565166"/>
          </a:xfrm>
        </p:grpSpPr>
        <p:sp>
          <p:nvSpPr>
            <p:cNvPr id="43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4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8007469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Alt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78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0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81" name="Freeform 80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8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8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8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0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58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70" name="Picture Placeholder 69"/>
          <p:cNvSpPr>
            <a:spLocks noGrp="1"/>
          </p:cNvSpPr>
          <p:nvPr>
            <p:ph type="pic" sz="quarter" idx="12"/>
          </p:nvPr>
        </p:nvSpPr>
        <p:spPr bwMode="gray">
          <a:xfrm>
            <a:off x="-2580" y="2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grpSp>
        <p:nvGrpSpPr>
          <p:cNvPr id="40" name="Group 39"/>
          <p:cNvGrpSpPr/>
          <p:nvPr userDrawn="1"/>
        </p:nvGrpSpPr>
        <p:grpSpPr>
          <a:xfrm>
            <a:off x="8733699" y="-133099"/>
            <a:ext cx="1170834" cy="1565166"/>
            <a:chOff x="5364088" y="4720073"/>
            <a:chExt cx="1441027" cy="1565166"/>
          </a:xfrm>
        </p:grpSpPr>
        <p:sp>
          <p:nvSpPr>
            <p:cNvPr id="41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2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2808566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ChangeAspect="1"/>
          </p:cNvSpPr>
          <p:nvPr userDrawn="1"/>
        </p:nvSpPr>
        <p:spPr bwMode="gray">
          <a:xfrm>
            <a:off x="566241" y="1201147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29" y="1327150"/>
            <a:ext cx="8522456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0661075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37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3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681038" y="6291860"/>
            <a:ext cx="1784250" cy="287825"/>
          </a:xfrm>
          <a:prstGeom prst="rect">
            <a:avLst/>
          </a:prstGeom>
        </p:spPr>
      </p:pic>
      <p:grpSp>
        <p:nvGrpSpPr>
          <p:cNvPr id="44" name="Group 43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5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6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7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8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0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2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4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6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7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9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1894182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Picture R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>
            <a:spLocks noChangeAspect="1"/>
          </p:cNvSpPr>
          <p:nvPr userDrawn="1"/>
        </p:nvSpPr>
        <p:spPr bwMode="gray">
          <a:xfrm>
            <a:off x="566241" y="1201147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30" y="1327149"/>
            <a:ext cx="4864458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5928122" y="1201147"/>
            <a:ext cx="3737794" cy="4999652"/>
          </a:xfrm>
          <a:custGeom>
            <a:avLst/>
            <a:gdLst>
              <a:gd name="connsiteX0" fmla="*/ 0 w 4600362"/>
              <a:gd name="connsiteY0" fmla="*/ 0 h 4999652"/>
              <a:gd name="connsiteX1" fmla="*/ 4504373 w 4600362"/>
              <a:gd name="connsiteY1" fmla="*/ 0 h 4999652"/>
              <a:gd name="connsiteX2" fmla="*/ 4536051 w 4600362"/>
              <a:gd name="connsiteY2" fmla="*/ 4129 h 4999652"/>
              <a:gd name="connsiteX3" fmla="*/ 4600362 w 4600362"/>
              <a:gd name="connsiteY3" fmla="*/ 96109 h 4999652"/>
              <a:gd name="connsiteX4" fmla="*/ 4600362 w 4600362"/>
              <a:gd name="connsiteY4" fmla="*/ 335164 h 4999652"/>
              <a:gd name="connsiteX5" fmla="*/ 4600362 w 4600362"/>
              <a:gd name="connsiteY5" fmla="*/ 370349 h 4999652"/>
              <a:gd name="connsiteX6" fmla="*/ 4600362 w 4600362"/>
              <a:gd name="connsiteY6" fmla="*/ 379203 h 4999652"/>
              <a:gd name="connsiteX7" fmla="*/ 4600362 w 4600362"/>
              <a:gd name="connsiteY7" fmla="*/ 400047 h 4999652"/>
              <a:gd name="connsiteX8" fmla="*/ 4600362 w 4600362"/>
              <a:gd name="connsiteY8" fmla="*/ 400231 h 4999652"/>
              <a:gd name="connsiteX9" fmla="*/ 4600362 w 4600362"/>
              <a:gd name="connsiteY9" fmla="*/ 471201 h 4999652"/>
              <a:gd name="connsiteX10" fmla="*/ 4600362 w 4600362"/>
              <a:gd name="connsiteY10" fmla="*/ 475720 h 4999652"/>
              <a:gd name="connsiteX11" fmla="*/ 4600362 w 4600362"/>
              <a:gd name="connsiteY11" fmla="*/ 508691 h 4999652"/>
              <a:gd name="connsiteX12" fmla="*/ 4600362 w 4600362"/>
              <a:gd name="connsiteY12" fmla="*/ 554483 h 4999652"/>
              <a:gd name="connsiteX13" fmla="*/ 4600362 w 4600362"/>
              <a:gd name="connsiteY13" fmla="*/ 563014 h 4999652"/>
              <a:gd name="connsiteX14" fmla="*/ 4600362 w 4600362"/>
              <a:gd name="connsiteY14" fmla="*/ 609404 h 4999652"/>
              <a:gd name="connsiteX15" fmla="*/ 4600362 w 4600362"/>
              <a:gd name="connsiteY15" fmla="*/ 662758 h 4999652"/>
              <a:gd name="connsiteX16" fmla="*/ 4600362 w 4600362"/>
              <a:gd name="connsiteY16" fmla="*/ 674287 h 4999652"/>
              <a:gd name="connsiteX17" fmla="*/ 4600362 w 4600362"/>
              <a:gd name="connsiteY17" fmla="*/ 749960 h 4999652"/>
              <a:gd name="connsiteX18" fmla="*/ 4600362 w 4600362"/>
              <a:gd name="connsiteY18" fmla="*/ 775784 h 4999652"/>
              <a:gd name="connsiteX19" fmla="*/ 4600362 w 4600362"/>
              <a:gd name="connsiteY19" fmla="*/ 837254 h 4999652"/>
              <a:gd name="connsiteX20" fmla="*/ 4600362 w 4600362"/>
              <a:gd name="connsiteY20" fmla="*/ 902920 h 4999652"/>
              <a:gd name="connsiteX21" fmla="*/ 4600362 w 4600362"/>
              <a:gd name="connsiteY21" fmla="*/ 936998 h 4999652"/>
              <a:gd name="connsiteX22" fmla="*/ 4600362 w 4600362"/>
              <a:gd name="connsiteY22" fmla="*/ 1044998 h 4999652"/>
              <a:gd name="connsiteX23" fmla="*/ 4600362 w 4600362"/>
              <a:gd name="connsiteY23" fmla="*/ 1050024 h 4999652"/>
              <a:gd name="connsiteX24" fmla="*/ 4600362 w 4600362"/>
              <a:gd name="connsiteY24" fmla="*/ 1177160 h 4999652"/>
              <a:gd name="connsiteX25" fmla="*/ 4600362 w 4600362"/>
              <a:gd name="connsiteY25" fmla="*/ 1202846 h 4999652"/>
              <a:gd name="connsiteX26" fmla="*/ 4600362 w 4600362"/>
              <a:gd name="connsiteY26" fmla="*/ 1319238 h 4999652"/>
              <a:gd name="connsiteX27" fmla="*/ 4600362 w 4600362"/>
              <a:gd name="connsiteY27" fmla="*/ 1377295 h 4999652"/>
              <a:gd name="connsiteX28" fmla="*/ 4600362 w 4600362"/>
              <a:gd name="connsiteY28" fmla="*/ 1477086 h 4999652"/>
              <a:gd name="connsiteX29" fmla="*/ 4600362 w 4600362"/>
              <a:gd name="connsiteY29" fmla="*/ 1569176 h 4999652"/>
              <a:gd name="connsiteX30" fmla="*/ 4600362 w 4600362"/>
              <a:gd name="connsiteY30" fmla="*/ 1651535 h 4999652"/>
              <a:gd name="connsiteX31" fmla="*/ 4600362 w 4600362"/>
              <a:gd name="connsiteY31" fmla="*/ 1779317 h 4999652"/>
              <a:gd name="connsiteX32" fmla="*/ 4600362 w 4600362"/>
              <a:gd name="connsiteY32" fmla="*/ 1843416 h 4999652"/>
              <a:gd name="connsiteX33" fmla="*/ 4600362 w 4600362"/>
              <a:gd name="connsiteY33" fmla="*/ 2008550 h 4999652"/>
              <a:gd name="connsiteX34" fmla="*/ 4600362 w 4600362"/>
              <a:gd name="connsiteY34" fmla="*/ 2053557 h 4999652"/>
              <a:gd name="connsiteX35" fmla="*/ 4600362 w 4600362"/>
              <a:gd name="connsiteY35" fmla="*/ 2257704 h 4999652"/>
              <a:gd name="connsiteX36" fmla="*/ 4600362 w 4600362"/>
              <a:gd name="connsiteY36" fmla="*/ 2282790 h 4999652"/>
              <a:gd name="connsiteX37" fmla="*/ 4600362 w 4600362"/>
              <a:gd name="connsiteY37" fmla="*/ 2527609 h 4999652"/>
              <a:gd name="connsiteX38" fmla="*/ 4600362 w 4600362"/>
              <a:gd name="connsiteY38" fmla="*/ 2531944 h 4999652"/>
              <a:gd name="connsiteX39" fmla="*/ 4600362 w 4600362"/>
              <a:gd name="connsiteY39" fmla="*/ 2801850 h 4999652"/>
              <a:gd name="connsiteX40" fmla="*/ 4600362 w 4600362"/>
              <a:gd name="connsiteY40" fmla="*/ 2819096 h 4999652"/>
              <a:gd name="connsiteX41" fmla="*/ 4600362 w 4600362"/>
              <a:gd name="connsiteY41" fmla="*/ 3093336 h 4999652"/>
              <a:gd name="connsiteX42" fmla="*/ 4600362 w 4600362"/>
              <a:gd name="connsiteY42" fmla="*/ 3132994 h 4999652"/>
              <a:gd name="connsiteX43" fmla="*/ 4600362 w 4600362"/>
              <a:gd name="connsiteY43" fmla="*/ 3407235 h 4999652"/>
              <a:gd name="connsiteX44" fmla="*/ 4600362 w 4600362"/>
              <a:gd name="connsiteY44" fmla="*/ 3470134 h 4999652"/>
              <a:gd name="connsiteX45" fmla="*/ 4600362 w 4600362"/>
              <a:gd name="connsiteY45" fmla="*/ 3744374 h 4999652"/>
              <a:gd name="connsiteX46" fmla="*/ 4600362 w 4600362"/>
              <a:gd name="connsiteY46" fmla="*/ 3831345 h 4999652"/>
              <a:gd name="connsiteX47" fmla="*/ 4600362 w 4600362"/>
              <a:gd name="connsiteY47" fmla="*/ 4105585 h 4999652"/>
              <a:gd name="connsiteX48" fmla="*/ 4600362 w 4600362"/>
              <a:gd name="connsiteY48" fmla="*/ 4217458 h 4999652"/>
              <a:gd name="connsiteX49" fmla="*/ 4600362 w 4600362"/>
              <a:gd name="connsiteY49" fmla="*/ 4491698 h 4999652"/>
              <a:gd name="connsiteX50" fmla="*/ 4600362 w 4600362"/>
              <a:gd name="connsiteY50" fmla="*/ 4629302 h 4999652"/>
              <a:gd name="connsiteX51" fmla="*/ 4600362 w 4600362"/>
              <a:gd name="connsiteY51" fmla="*/ 4903542 h 4999652"/>
              <a:gd name="connsiteX52" fmla="*/ 4504365 w 4600362"/>
              <a:gd name="connsiteY52" fmla="*/ 4999652 h 4999652"/>
              <a:gd name="connsiteX53" fmla="*/ 144766 w 4600362"/>
              <a:gd name="connsiteY53" fmla="*/ 4999652 h 4999652"/>
              <a:gd name="connsiteX54" fmla="*/ 0 w 4600362"/>
              <a:gd name="connsiteY54" fmla="*/ 4999652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4600362" h="4999652">
                <a:moveTo>
                  <a:pt x="0" y="0"/>
                </a:moveTo>
                <a:lnTo>
                  <a:pt x="4504373" y="0"/>
                </a:lnTo>
                <a:lnTo>
                  <a:pt x="4536051" y="4129"/>
                </a:lnTo>
                <a:cubicBezTo>
                  <a:pt x="4600362" y="22525"/>
                  <a:pt x="4600362" y="96109"/>
                  <a:pt x="4600362" y="96109"/>
                </a:cubicBezTo>
                <a:cubicBezTo>
                  <a:pt x="4600362" y="96109"/>
                  <a:pt x="4600362" y="96109"/>
                  <a:pt x="4600362" y="335164"/>
                </a:cubicBezTo>
                <a:lnTo>
                  <a:pt x="4600362" y="370349"/>
                </a:lnTo>
                <a:cubicBezTo>
                  <a:pt x="4600362" y="370349"/>
                  <a:pt x="4600362" y="370349"/>
                  <a:pt x="4600362" y="379203"/>
                </a:cubicBezTo>
                <a:lnTo>
                  <a:pt x="4600362" y="400047"/>
                </a:lnTo>
                <a:lnTo>
                  <a:pt x="4600362" y="400231"/>
                </a:lnTo>
                <a:cubicBezTo>
                  <a:pt x="4600362" y="415172"/>
                  <a:pt x="4600362" y="437584"/>
                  <a:pt x="4600362" y="471201"/>
                </a:cubicBezTo>
                <a:lnTo>
                  <a:pt x="4600362" y="475720"/>
                </a:lnTo>
                <a:lnTo>
                  <a:pt x="4600362" y="508691"/>
                </a:lnTo>
                <a:cubicBezTo>
                  <a:pt x="4600362" y="522526"/>
                  <a:pt x="4600362" y="537743"/>
                  <a:pt x="4600362" y="554483"/>
                </a:cubicBezTo>
                <a:lnTo>
                  <a:pt x="4600362" y="563014"/>
                </a:lnTo>
                <a:lnTo>
                  <a:pt x="4600362" y="609404"/>
                </a:lnTo>
                <a:lnTo>
                  <a:pt x="4600362" y="662758"/>
                </a:lnTo>
                <a:lnTo>
                  <a:pt x="4600362" y="674287"/>
                </a:lnTo>
                <a:cubicBezTo>
                  <a:pt x="4600362" y="697667"/>
                  <a:pt x="4600362" y="722845"/>
                  <a:pt x="4600362" y="749960"/>
                </a:cubicBezTo>
                <a:lnTo>
                  <a:pt x="4600362" y="775784"/>
                </a:lnTo>
                <a:lnTo>
                  <a:pt x="4600362" y="837254"/>
                </a:lnTo>
                <a:lnTo>
                  <a:pt x="4600362" y="902920"/>
                </a:lnTo>
                <a:lnTo>
                  <a:pt x="4600362" y="936998"/>
                </a:lnTo>
                <a:lnTo>
                  <a:pt x="4600362" y="1044998"/>
                </a:lnTo>
                <a:lnTo>
                  <a:pt x="4600362" y="1050024"/>
                </a:lnTo>
                <a:cubicBezTo>
                  <a:pt x="4600362" y="1090005"/>
                  <a:pt x="4600362" y="1132337"/>
                  <a:pt x="4600362" y="1177160"/>
                </a:cubicBezTo>
                <a:lnTo>
                  <a:pt x="4600362" y="1202846"/>
                </a:lnTo>
                <a:lnTo>
                  <a:pt x="4600362" y="1319238"/>
                </a:lnTo>
                <a:lnTo>
                  <a:pt x="4600362" y="1377295"/>
                </a:lnTo>
                <a:lnTo>
                  <a:pt x="4600362" y="1477086"/>
                </a:lnTo>
                <a:lnTo>
                  <a:pt x="4600362" y="1569176"/>
                </a:lnTo>
                <a:lnTo>
                  <a:pt x="4600362" y="1651535"/>
                </a:lnTo>
                <a:lnTo>
                  <a:pt x="4600362" y="1779317"/>
                </a:lnTo>
                <a:lnTo>
                  <a:pt x="4600362" y="1843416"/>
                </a:lnTo>
                <a:lnTo>
                  <a:pt x="4600362" y="2008550"/>
                </a:lnTo>
                <a:lnTo>
                  <a:pt x="4600362" y="2053557"/>
                </a:lnTo>
                <a:lnTo>
                  <a:pt x="4600362" y="2257704"/>
                </a:lnTo>
                <a:lnTo>
                  <a:pt x="4600362" y="2282790"/>
                </a:lnTo>
                <a:lnTo>
                  <a:pt x="4600362" y="2527609"/>
                </a:lnTo>
                <a:lnTo>
                  <a:pt x="4600362" y="2531944"/>
                </a:lnTo>
                <a:cubicBezTo>
                  <a:pt x="4600362" y="2618408"/>
                  <a:pt x="4600362" y="2708330"/>
                  <a:pt x="4600362" y="2801850"/>
                </a:cubicBezTo>
                <a:lnTo>
                  <a:pt x="4600362" y="2819096"/>
                </a:lnTo>
                <a:lnTo>
                  <a:pt x="4600362" y="3093336"/>
                </a:lnTo>
                <a:lnTo>
                  <a:pt x="4600362" y="3132994"/>
                </a:lnTo>
                <a:lnTo>
                  <a:pt x="4600362" y="3407235"/>
                </a:lnTo>
                <a:lnTo>
                  <a:pt x="4600362" y="3470134"/>
                </a:lnTo>
                <a:lnTo>
                  <a:pt x="4600362" y="3744374"/>
                </a:lnTo>
                <a:lnTo>
                  <a:pt x="4600362" y="3831345"/>
                </a:lnTo>
                <a:lnTo>
                  <a:pt x="4600362" y="4105585"/>
                </a:lnTo>
                <a:lnTo>
                  <a:pt x="4600362" y="4217458"/>
                </a:lnTo>
                <a:lnTo>
                  <a:pt x="4600362" y="4491698"/>
                </a:lnTo>
                <a:lnTo>
                  <a:pt x="4600362" y="4629302"/>
                </a:lnTo>
                <a:lnTo>
                  <a:pt x="4600362" y="4903542"/>
                </a:lnTo>
                <a:cubicBezTo>
                  <a:pt x="4600362" y="4999652"/>
                  <a:pt x="4504365" y="4999652"/>
                  <a:pt x="4504365" y="4999652"/>
                </a:cubicBezTo>
                <a:cubicBezTo>
                  <a:pt x="4504365" y="4999652"/>
                  <a:pt x="4504365" y="4999652"/>
                  <a:pt x="144766" y="4999652"/>
                </a:cubicBezTo>
                <a:lnTo>
                  <a:pt x="0" y="4999652"/>
                </a:lnTo>
                <a:close/>
              </a:path>
            </a:pathLst>
          </a:custGeom>
          <a:noFill/>
        </p:spPr>
        <p:txBody>
          <a:bodyPr wrap="square" tIns="108000">
            <a:noAutofit/>
          </a:bodyPr>
          <a:lstStyle/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5452599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4308" userDrawn="1">
          <p15:clr>
            <a:srgbClr val="FBAE40"/>
          </p15:clr>
        </p15:guide>
        <p15:guide id="2" pos="4596" userDrawn="1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eform 9"/>
          <p:cNvSpPr>
            <a:spLocks noChangeAspect="1"/>
          </p:cNvSpPr>
          <p:nvPr userDrawn="1"/>
        </p:nvSpPr>
        <p:spPr bwMode="gray">
          <a:xfrm>
            <a:off x="0" y="1695450"/>
            <a:ext cx="9222525" cy="2382290"/>
          </a:xfrm>
          <a:custGeom>
            <a:avLst/>
            <a:gdLst>
              <a:gd name="T0" fmla="*/ 0 w 2680"/>
              <a:gd name="T1" fmla="*/ 560 h 560"/>
              <a:gd name="T2" fmla="*/ 2648 w 2680"/>
              <a:gd name="T3" fmla="*/ 560 h 560"/>
              <a:gd name="T4" fmla="*/ 2680 w 2680"/>
              <a:gd name="T5" fmla="*/ 528 h 560"/>
              <a:gd name="T6" fmla="*/ 2680 w 2680"/>
              <a:gd name="T7" fmla="*/ 32 h 560"/>
              <a:gd name="T8" fmla="*/ 2648 w 2680"/>
              <a:gd name="T9" fmla="*/ 0 h 560"/>
              <a:gd name="T10" fmla="*/ 0 w 2680"/>
              <a:gd name="T11" fmla="*/ 0 h 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80" h="560">
                <a:moveTo>
                  <a:pt x="0" y="560"/>
                </a:moveTo>
                <a:cubicBezTo>
                  <a:pt x="2648" y="560"/>
                  <a:pt x="2648" y="560"/>
                  <a:pt x="2648" y="560"/>
                </a:cubicBezTo>
                <a:cubicBezTo>
                  <a:pt x="2648" y="560"/>
                  <a:pt x="2680" y="560"/>
                  <a:pt x="2680" y="528"/>
                </a:cubicBezTo>
                <a:cubicBezTo>
                  <a:pt x="2680" y="32"/>
                  <a:pt x="2680" y="32"/>
                  <a:pt x="2680" y="32"/>
                </a:cubicBezTo>
                <a:cubicBezTo>
                  <a:pt x="2680" y="32"/>
                  <a:pt x="2680" y="0"/>
                  <a:pt x="2648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684477" y="1695452"/>
            <a:ext cx="8379482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0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1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0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0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1948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7"/>
          <p:cNvSpPr>
            <a:spLocks noGrp="1"/>
          </p:cNvSpPr>
          <p:nvPr>
            <p:ph type="pic" sz="quarter" idx="16"/>
          </p:nvPr>
        </p:nvSpPr>
        <p:spPr bwMode="gray">
          <a:xfrm>
            <a:off x="566241" y="1696718"/>
            <a:ext cx="9099675" cy="4504080"/>
          </a:xfrm>
          <a:custGeom>
            <a:avLst/>
            <a:gdLst>
              <a:gd name="connsiteX0" fmla="*/ 95997 w 11199600"/>
              <a:gd name="connsiteY0" fmla="*/ 0 h 4504080"/>
              <a:gd name="connsiteX1" fmla="*/ 11103603 w 11199600"/>
              <a:gd name="connsiteY1" fmla="*/ 0 h 4504080"/>
              <a:gd name="connsiteX2" fmla="*/ 11199600 w 11199600"/>
              <a:gd name="connsiteY2" fmla="*/ 96110 h 4504080"/>
              <a:gd name="connsiteX3" fmla="*/ 11199600 w 11199600"/>
              <a:gd name="connsiteY3" fmla="*/ 335165 h 4504080"/>
              <a:gd name="connsiteX4" fmla="*/ 11199600 w 11199600"/>
              <a:gd name="connsiteY4" fmla="*/ 370350 h 4504080"/>
              <a:gd name="connsiteX5" fmla="*/ 11199600 w 11199600"/>
              <a:gd name="connsiteY5" fmla="*/ 379204 h 4504080"/>
              <a:gd name="connsiteX6" fmla="*/ 11199600 w 11199600"/>
              <a:gd name="connsiteY6" fmla="*/ 400048 h 4504080"/>
              <a:gd name="connsiteX7" fmla="*/ 11199600 w 11199600"/>
              <a:gd name="connsiteY7" fmla="*/ 400232 h 4504080"/>
              <a:gd name="connsiteX8" fmla="*/ 11199600 w 11199600"/>
              <a:gd name="connsiteY8" fmla="*/ 471202 h 4504080"/>
              <a:gd name="connsiteX9" fmla="*/ 11199600 w 11199600"/>
              <a:gd name="connsiteY9" fmla="*/ 475721 h 4504080"/>
              <a:gd name="connsiteX10" fmla="*/ 11199600 w 11199600"/>
              <a:gd name="connsiteY10" fmla="*/ 508692 h 4504080"/>
              <a:gd name="connsiteX11" fmla="*/ 11199600 w 11199600"/>
              <a:gd name="connsiteY11" fmla="*/ 554484 h 4504080"/>
              <a:gd name="connsiteX12" fmla="*/ 11199600 w 11199600"/>
              <a:gd name="connsiteY12" fmla="*/ 563015 h 4504080"/>
              <a:gd name="connsiteX13" fmla="*/ 11199600 w 11199600"/>
              <a:gd name="connsiteY13" fmla="*/ 609405 h 4504080"/>
              <a:gd name="connsiteX14" fmla="*/ 11199600 w 11199600"/>
              <a:gd name="connsiteY14" fmla="*/ 662759 h 4504080"/>
              <a:gd name="connsiteX15" fmla="*/ 11199600 w 11199600"/>
              <a:gd name="connsiteY15" fmla="*/ 674288 h 4504080"/>
              <a:gd name="connsiteX16" fmla="*/ 11199600 w 11199600"/>
              <a:gd name="connsiteY16" fmla="*/ 749961 h 4504080"/>
              <a:gd name="connsiteX17" fmla="*/ 11199600 w 11199600"/>
              <a:gd name="connsiteY17" fmla="*/ 775785 h 4504080"/>
              <a:gd name="connsiteX18" fmla="*/ 11199600 w 11199600"/>
              <a:gd name="connsiteY18" fmla="*/ 837255 h 4504080"/>
              <a:gd name="connsiteX19" fmla="*/ 11199600 w 11199600"/>
              <a:gd name="connsiteY19" fmla="*/ 902921 h 4504080"/>
              <a:gd name="connsiteX20" fmla="*/ 11199600 w 11199600"/>
              <a:gd name="connsiteY20" fmla="*/ 936999 h 4504080"/>
              <a:gd name="connsiteX21" fmla="*/ 11199600 w 11199600"/>
              <a:gd name="connsiteY21" fmla="*/ 1044999 h 4504080"/>
              <a:gd name="connsiteX22" fmla="*/ 11199600 w 11199600"/>
              <a:gd name="connsiteY22" fmla="*/ 1050025 h 4504080"/>
              <a:gd name="connsiteX23" fmla="*/ 11199600 w 11199600"/>
              <a:gd name="connsiteY23" fmla="*/ 1177161 h 4504080"/>
              <a:gd name="connsiteX24" fmla="*/ 11199600 w 11199600"/>
              <a:gd name="connsiteY24" fmla="*/ 1202847 h 4504080"/>
              <a:gd name="connsiteX25" fmla="*/ 11199600 w 11199600"/>
              <a:gd name="connsiteY25" fmla="*/ 1319239 h 4504080"/>
              <a:gd name="connsiteX26" fmla="*/ 11199600 w 11199600"/>
              <a:gd name="connsiteY26" fmla="*/ 1377296 h 4504080"/>
              <a:gd name="connsiteX27" fmla="*/ 11199600 w 11199600"/>
              <a:gd name="connsiteY27" fmla="*/ 1477087 h 4504080"/>
              <a:gd name="connsiteX28" fmla="*/ 11199600 w 11199600"/>
              <a:gd name="connsiteY28" fmla="*/ 1569177 h 4504080"/>
              <a:gd name="connsiteX29" fmla="*/ 11199600 w 11199600"/>
              <a:gd name="connsiteY29" fmla="*/ 1626118 h 4504080"/>
              <a:gd name="connsiteX30" fmla="*/ 11199600 w 11199600"/>
              <a:gd name="connsiteY30" fmla="*/ 1651536 h 4504080"/>
              <a:gd name="connsiteX31" fmla="*/ 11199600 w 11199600"/>
              <a:gd name="connsiteY31" fmla="*/ 1762133 h 4504080"/>
              <a:gd name="connsiteX32" fmla="*/ 11199600 w 11199600"/>
              <a:gd name="connsiteY32" fmla="*/ 1779318 h 4504080"/>
              <a:gd name="connsiteX33" fmla="*/ 11199600 w 11199600"/>
              <a:gd name="connsiteY33" fmla="*/ 1787219 h 4504080"/>
              <a:gd name="connsiteX34" fmla="*/ 11199600 w 11199600"/>
              <a:gd name="connsiteY34" fmla="*/ 1843417 h 4504080"/>
              <a:gd name="connsiteX35" fmla="*/ 11199600 w 11199600"/>
              <a:gd name="connsiteY35" fmla="*/ 1984894 h 4504080"/>
              <a:gd name="connsiteX36" fmla="*/ 11199600 w 11199600"/>
              <a:gd name="connsiteY36" fmla="*/ 2032038 h 4504080"/>
              <a:gd name="connsiteX37" fmla="*/ 11199600 w 11199600"/>
              <a:gd name="connsiteY37" fmla="*/ 2036373 h 4504080"/>
              <a:gd name="connsiteX38" fmla="*/ 11199600 w 11199600"/>
              <a:gd name="connsiteY38" fmla="*/ 2306279 h 4504080"/>
              <a:gd name="connsiteX39" fmla="*/ 11199600 w 11199600"/>
              <a:gd name="connsiteY39" fmla="*/ 2323525 h 4504080"/>
              <a:gd name="connsiteX40" fmla="*/ 11199600 w 11199600"/>
              <a:gd name="connsiteY40" fmla="*/ 2597765 h 4504080"/>
              <a:gd name="connsiteX41" fmla="*/ 11199600 w 11199600"/>
              <a:gd name="connsiteY41" fmla="*/ 2637423 h 4504080"/>
              <a:gd name="connsiteX42" fmla="*/ 11199600 w 11199600"/>
              <a:gd name="connsiteY42" fmla="*/ 2911664 h 4504080"/>
              <a:gd name="connsiteX43" fmla="*/ 11199600 w 11199600"/>
              <a:gd name="connsiteY43" fmla="*/ 2974563 h 4504080"/>
              <a:gd name="connsiteX44" fmla="*/ 11199600 w 11199600"/>
              <a:gd name="connsiteY44" fmla="*/ 3248803 h 4504080"/>
              <a:gd name="connsiteX45" fmla="*/ 11199600 w 11199600"/>
              <a:gd name="connsiteY45" fmla="*/ 3335774 h 4504080"/>
              <a:gd name="connsiteX46" fmla="*/ 11199600 w 11199600"/>
              <a:gd name="connsiteY46" fmla="*/ 3610014 h 4504080"/>
              <a:gd name="connsiteX47" fmla="*/ 11199600 w 11199600"/>
              <a:gd name="connsiteY47" fmla="*/ 3721887 h 4504080"/>
              <a:gd name="connsiteX48" fmla="*/ 11199600 w 11199600"/>
              <a:gd name="connsiteY48" fmla="*/ 3996127 h 4504080"/>
              <a:gd name="connsiteX49" fmla="*/ 11199600 w 11199600"/>
              <a:gd name="connsiteY49" fmla="*/ 4133731 h 4504080"/>
              <a:gd name="connsiteX50" fmla="*/ 11199600 w 11199600"/>
              <a:gd name="connsiteY50" fmla="*/ 4407971 h 4504080"/>
              <a:gd name="connsiteX51" fmla="*/ 11118603 w 11199600"/>
              <a:gd name="connsiteY51" fmla="*/ 4502580 h 4504080"/>
              <a:gd name="connsiteX52" fmla="*/ 11103613 w 11199600"/>
              <a:gd name="connsiteY52" fmla="*/ 4504080 h 4504080"/>
              <a:gd name="connsiteX53" fmla="*/ 95989 w 11199600"/>
              <a:gd name="connsiteY53" fmla="*/ 4504080 h 4504080"/>
              <a:gd name="connsiteX54" fmla="*/ 64311 w 11199600"/>
              <a:gd name="connsiteY54" fmla="*/ 4499952 h 4504080"/>
              <a:gd name="connsiteX55" fmla="*/ 0 w 11199600"/>
              <a:gd name="connsiteY55" fmla="*/ 4407971 h 4504080"/>
              <a:gd name="connsiteX56" fmla="*/ 0 w 11199600"/>
              <a:gd name="connsiteY56" fmla="*/ 4404236 h 4504080"/>
              <a:gd name="connsiteX57" fmla="*/ 0 w 11199600"/>
              <a:gd name="connsiteY57" fmla="*/ 4395365 h 4504080"/>
              <a:gd name="connsiteX58" fmla="*/ 0 w 11199600"/>
              <a:gd name="connsiteY58" fmla="*/ 4378089 h 4504080"/>
              <a:gd name="connsiteX59" fmla="*/ 0 w 11199600"/>
              <a:gd name="connsiteY59" fmla="*/ 4349608 h 4504080"/>
              <a:gd name="connsiteX60" fmla="*/ 0 w 11199600"/>
              <a:gd name="connsiteY60" fmla="*/ 4307120 h 4504080"/>
              <a:gd name="connsiteX61" fmla="*/ 0 w 11199600"/>
              <a:gd name="connsiteY61" fmla="*/ 4247823 h 4504080"/>
              <a:gd name="connsiteX62" fmla="*/ 0 w 11199600"/>
              <a:gd name="connsiteY62" fmla="*/ 4168916 h 4504080"/>
              <a:gd name="connsiteX63" fmla="*/ 0 w 11199600"/>
              <a:gd name="connsiteY63" fmla="*/ 4133731 h 4504080"/>
              <a:gd name="connsiteX64" fmla="*/ 0 w 11199600"/>
              <a:gd name="connsiteY64" fmla="*/ 4132625 h 4504080"/>
              <a:gd name="connsiteX65" fmla="*/ 0 w 11199600"/>
              <a:gd name="connsiteY65" fmla="*/ 4124877 h 4504080"/>
              <a:gd name="connsiteX66" fmla="*/ 0 w 11199600"/>
              <a:gd name="connsiteY66" fmla="*/ 4104034 h 4504080"/>
              <a:gd name="connsiteX67" fmla="*/ 0 w 11199600"/>
              <a:gd name="connsiteY67" fmla="*/ 4103849 h 4504080"/>
              <a:gd name="connsiteX68" fmla="*/ 0 w 11199600"/>
              <a:gd name="connsiteY68" fmla="*/ 4062900 h 4504080"/>
              <a:gd name="connsiteX69" fmla="*/ 0 w 11199600"/>
              <a:gd name="connsiteY69" fmla="*/ 4032880 h 4504080"/>
              <a:gd name="connsiteX70" fmla="*/ 0 w 11199600"/>
              <a:gd name="connsiteY70" fmla="*/ 4028361 h 4504080"/>
              <a:gd name="connsiteX71" fmla="*/ 0 w 11199600"/>
              <a:gd name="connsiteY71" fmla="*/ 3995389 h 4504080"/>
              <a:gd name="connsiteX72" fmla="*/ 0 w 11199600"/>
              <a:gd name="connsiteY72" fmla="*/ 3949598 h 4504080"/>
              <a:gd name="connsiteX73" fmla="*/ 0 w 11199600"/>
              <a:gd name="connsiteY73" fmla="*/ 3941067 h 4504080"/>
              <a:gd name="connsiteX74" fmla="*/ 0 w 11199600"/>
              <a:gd name="connsiteY74" fmla="*/ 3894676 h 4504080"/>
              <a:gd name="connsiteX75" fmla="*/ 0 w 11199600"/>
              <a:gd name="connsiteY75" fmla="*/ 3841322 h 4504080"/>
              <a:gd name="connsiteX76" fmla="*/ 0 w 11199600"/>
              <a:gd name="connsiteY76" fmla="*/ 3829794 h 4504080"/>
              <a:gd name="connsiteX77" fmla="*/ 0 w 11199600"/>
              <a:gd name="connsiteY77" fmla="*/ 3754121 h 4504080"/>
              <a:gd name="connsiteX78" fmla="*/ 0 w 11199600"/>
              <a:gd name="connsiteY78" fmla="*/ 3728297 h 4504080"/>
              <a:gd name="connsiteX79" fmla="*/ 0 w 11199600"/>
              <a:gd name="connsiteY79" fmla="*/ 3666827 h 4504080"/>
              <a:gd name="connsiteX80" fmla="*/ 0 w 11199600"/>
              <a:gd name="connsiteY80" fmla="*/ 3601160 h 4504080"/>
              <a:gd name="connsiteX81" fmla="*/ 0 w 11199600"/>
              <a:gd name="connsiteY81" fmla="*/ 3567082 h 4504080"/>
              <a:gd name="connsiteX82" fmla="*/ 0 w 11199600"/>
              <a:gd name="connsiteY82" fmla="*/ 3459083 h 4504080"/>
              <a:gd name="connsiteX83" fmla="*/ 0 w 11199600"/>
              <a:gd name="connsiteY83" fmla="*/ 3454057 h 4504080"/>
              <a:gd name="connsiteX84" fmla="*/ 0 w 11199600"/>
              <a:gd name="connsiteY84" fmla="*/ 3326920 h 4504080"/>
              <a:gd name="connsiteX85" fmla="*/ 0 w 11199600"/>
              <a:gd name="connsiteY85" fmla="*/ 3301235 h 4504080"/>
              <a:gd name="connsiteX86" fmla="*/ 0 w 11199600"/>
              <a:gd name="connsiteY86" fmla="*/ 3184843 h 4504080"/>
              <a:gd name="connsiteX87" fmla="*/ 0 w 11199600"/>
              <a:gd name="connsiteY87" fmla="*/ 3126785 h 4504080"/>
              <a:gd name="connsiteX88" fmla="*/ 0 w 11199600"/>
              <a:gd name="connsiteY88" fmla="*/ 3026995 h 4504080"/>
              <a:gd name="connsiteX89" fmla="*/ 0 w 11199600"/>
              <a:gd name="connsiteY89" fmla="*/ 2934905 h 4504080"/>
              <a:gd name="connsiteX90" fmla="*/ 0 w 11199600"/>
              <a:gd name="connsiteY90" fmla="*/ 2852545 h 4504080"/>
              <a:gd name="connsiteX91" fmla="*/ 0 w 11199600"/>
              <a:gd name="connsiteY91" fmla="*/ 2724763 h 4504080"/>
              <a:gd name="connsiteX92" fmla="*/ 0 w 11199600"/>
              <a:gd name="connsiteY92" fmla="*/ 2660665 h 4504080"/>
              <a:gd name="connsiteX93" fmla="*/ 0 w 11199600"/>
              <a:gd name="connsiteY93" fmla="*/ 2495530 h 4504080"/>
              <a:gd name="connsiteX94" fmla="*/ 0 w 11199600"/>
              <a:gd name="connsiteY94" fmla="*/ 2450523 h 4504080"/>
              <a:gd name="connsiteX95" fmla="*/ 0 w 11199600"/>
              <a:gd name="connsiteY95" fmla="*/ 2246376 h 4504080"/>
              <a:gd name="connsiteX96" fmla="*/ 0 w 11199600"/>
              <a:gd name="connsiteY96" fmla="*/ 2221290 h 4504080"/>
              <a:gd name="connsiteX97" fmla="*/ 0 w 11199600"/>
              <a:gd name="connsiteY97" fmla="*/ 1984894 h 4504080"/>
              <a:gd name="connsiteX98" fmla="*/ 0 w 11199600"/>
              <a:gd name="connsiteY98" fmla="*/ 1976471 h 4504080"/>
              <a:gd name="connsiteX99" fmla="*/ 0 w 11199600"/>
              <a:gd name="connsiteY99" fmla="*/ 1972136 h 4504080"/>
              <a:gd name="connsiteX100" fmla="*/ 0 w 11199600"/>
              <a:gd name="connsiteY100" fmla="*/ 1906316 h 4504080"/>
              <a:gd name="connsiteX101" fmla="*/ 0 w 11199600"/>
              <a:gd name="connsiteY101" fmla="*/ 1866658 h 4504080"/>
              <a:gd name="connsiteX102" fmla="*/ 0 w 11199600"/>
              <a:gd name="connsiteY102" fmla="*/ 1702231 h 4504080"/>
              <a:gd name="connsiteX103" fmla="*/ 0 w 11199600"/>
              <a:gd name="connsiteY103" fmla="*/ 1684984 h 4504080"/>
              <a:gd name="connsiteX104" fmla="*/ 0 w 11199600"/>
              <a:gd name="connsiteY104" fmla="*/ 1626118 h 4504080"/>
              <a:gd name="connsiteX105" fmla="*/ 0 w 11199600"/>
              <a:gd name="connsiteY105" fmla="*/ 1592418 h 4504080"/>
              <a:gd name="connsiteX106" fmla="*/ 0 w 11199600"/>
              <a:gd name="connsiteY106" fmla="*/ 1529519 h 4504080"/>
              <a:gd name="connsiteX107" fmla="*/ 0 w 11199600"/>
              <a:gd name="connsiteY107" fmla="*/ 1255278 h 4504080"/>
              <a:gd name="connsiteX108" fmla="*/ 0 w 11199600"/>
              <a:gd name="connsiteY108" fmla="*/ 1168307 h 4504080"/>
              <a:gd name="connsiteX109" fmla="*/ 0 w 11199600"/>
              <a:gd name="connsiteY109" fmla="*/ 894067 h 4504080"/>
              <a:gd name="connsiteX110" fmla="*/ 0 w 11199600"/>
              <a:gd name="connsiteY110" fmla="*/ 782195 h 4504080"/>
              <a:gd name="connsiteX111" fmla="*/ 0 w 11199600"/>
              <a:gd name="connsiteY111" fmla="*/ 507955 h 4504080"/>
              <a:gd name="connsiteX112" fmla="*/ 0 w 11199600"/>
              <a:gd name="connsiteY112" fmla="*/ 370350 h 4504080"/>
              <a:gd name="connsiteX113" fmla="*/ 0 w 11199600"/>
              <a:gd name="connsiteY113" fmla="*/ 96110 h 4504080"/>
              <a:gd name="connsiteX114" fmla="*/ 95997 w 11199600"/>
              <a:gd name="connsiteY114" fmla="*/ 0 h 4504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11199600" h="4504080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26118"/>
                </a:lnTo>
                <a:lnTo>
                  <a:pt x="11199600" y="1651536"/>
                </a:lnTo>
                <a:lnTo>
                  <a:pt x="11199600" y="1762133"/>
                </a:lnTo>
                <a:lnTo>
                  <a:pt x="11199600" y="1779318"/>
                </a:lnTo>
                <a:lnTo>
                  <a:pt x="11199600" y="1787219"/>
                </a:lnTo>
                <a:lnTo>
                  <a:pt x="11199600" y="1843417"/>
                </a:lnTo>
                <a:lnTo>
                  <a:pt x="11199600" y="1984894"/>
                </a:lnTo>
                <a:lnTo>
                  <a:pt x="11199600" y="2032038"/>
                </a:lnTo>
                <a:lnTo>
                  <a:pt x="11199600" y="2036373"/>
                </a:lnTo>
                <a:cubicBezTo>
                  <a:pt x="11199600" y="2122837"/>
                  <a:pt x="11199600" y="2212759"/>
                  <a:pt x="11199600" y="2306279"/>
                </a:cubicBezTo>
                <a:lnTo>
                  <a:pt x="11199600" y="2323525"/>
                </a:lnTo>
                <a:lnTo>
                  <a:pt x="11199600" y="2597765"/>
                </a:lnTo>
                <a:lnTo>
                  <a:pt x="11199600" y="2637423"/>
                </a:lnTo>
                <a:lnTo>
                  <a:pt x="11199600" y="2911664"/>
                </a:lnTo>
                <a:lnTo>
                  <a:pt x="11199600" y="2974563"/>
                </a:lnTo>
                <a:lnTo>
                  <a:pt x="11199600" y="3248803"/>
                </a:lnTo>
                <a:lnTo>
                  <a:pt x="11199600" y="3335774"/>
                </a:lnTo>
                <a:lnTo>
                  <a:pt x="11199600" y="3610014"/>
                </a:lnTo>
                <a:lnTo>
                  <a:pt x="11199600" y="3721887"/>
                </a:lnTo>
                <a:lnTo>
                  <a:pt x="11199600" y="3996127"/>
                </a:lnTo>
                <a:lnTo>
                  <a:pt x="11199600" y="4133731"/>
                </a:lnTo>
                <a:lnTo>
                  <a:pt x="11199600" y="4407971"/>
                </a:lnTo>
                <a:cubicBezTo>
                  <a:pt x="11199600" y="4480054"/>
                  <a:pt x="11145602" y="4498074"/>
                  <a:pt x="11118603" y="4502580"/>
                </a:cubicBezTo>
                <a:lnTo>
                  <a:pt x="11103613" y="4504080"/>
                </a:lnTo>
                <a:lnTo>
                  <a:pt x="95989" y="4504080"/>
                </a:lnTo>
                <a:lnTo>
                  <a:pt x="64311" y="4499952"/>
                </a:lnTo>
                <a:cubicBezTo>
                  <a:pt x="0" y="4481555"/>
                  <a:pt x="0" y="4407971"/>
                  <a:pt x="0" y="4407971"/>
                </a:cubicBezTo>
                <a:lnTo>
                  <a:pt x="0" y="4404236"/>
                </a:lnTo>
                <a:lnTo>
                  <a:pt x="0" y="4395365"/>
                </a:lnTo>
                <a:lnTo>
                  <a:pt x="0" y="4378089"/>
                </a:lnTo>
                <a:lnTo>
                  <a:pt x="0" y="4349608"/>
                </a:lnTo>
                <a:lnTo>
                  <a:pt x="0" y="4307120"/>
                </a:lnTo>
                <a:lnTo>
                  <a:pt x="0" y="4247823"/>
                </a:lnTo>
                <a:lnTo>
                  <a:pt x="0" y="4168916"/>
                </a:lnTo>
                <a:lnTo>
                  <a:pt x="0" y="4133731"/>
                </a:lnTo>
                <a:lnTo>
                  <a:pt x="0" y="4132625"/>
                </a:lnTo>
                <a:lnTo>
                  <a:pt x="0" y="4124877"/>
                </a:lnTo>
                <a:lnTo>
                  <a:pt x="0" y="4104034"/>
                </a:lnTo>
                <a:lnTo>
                  <a:pt x="0" y="4103849"/>
                </a:lnTo>
                <a:lnTo>
                  <a:pt x="0" y="4062900"/>
                </a:lnTo>
                <a:lnTo>
                  <a:pt x="0" y="4032880"/>
                </a:lnTo>
                <a:lnTo>
                  <a:pt x="0" y="4028361"/>
                </a:lnTo>
                <a:lnTo>
                  <a:pt x="0" y="3995389"/>
                </a:lnTo>
                <a:lnTo>
                  <a:pt x="0" y="3949598"/>
                </a:lnTo>
                <a:lnTo>
                  <a:pt x="0" y="3941067"/>
                </a:lnTo>
                <a:lnTo>
                  <a:pt x="0" y="3894676"/>
                </a:lnTo>
                <a:lnTo>
                  <a:pt x="0" y="3841322"/>
                </a:lnTo>
                <a:lnTo>
                  <a:pt x="0" y="3829794"/>
                </a:lnTo>
                <a:lnTo>
                  <a:pt x="0" y="3754121"/>
                </a:lnTo>
                <a:lnTo>
                  <a:pt x="0" y="3728297"/>
                </a:lnTo>
                <a:lnTo>
                  <a:pt x="0" y="3666827"/>
                </a:lnTo>
                <a:lnTo>
                  <a:pt x="0" y="3601160"/>
                </a:lnTo>
                <a:lnTo>
                  <a:pt x="0" y="3567082"/>
                </a:lnTo>
                <a:lnTo>
                  <a:pt x="0" y="3459083"/>
                </a:lnTo>
                <a:lnTo>
                  <a:pt x="0" y="3454057"/>
                </a:lnTo>
                <a:lnTo>
                  <a:pt x="0" y="3326920"/>
                </a:lnTo>
                <a:lnTo>
                  <a:pt x="0" y="3301235"/>
                </a:lnTo>
                <a:lnTo>
                  <a:pt x="0" y="3184843"/>
                </a:lnTo>
                <a:lnTo>
                  <a:pt x="0" y="3126785"/>
                </a:lnTo>
                <a:lnTo>
                  <a:pt x="0" y="3026995"/>
                </a:lnTo>
                <a:lnTo>
                  <a:pt x="0" y="2934905"/>
                </a:lnTo>
                <a:lnTo>
                  <a:pt x="0" y="2852545"/>
                </a:lnTo>
                <a:lnTo>
                  <a:pt x="0" y="2724763"/>
                </a:lnTo>
                <a:lnTo>
                  <a:pt x="0" y="2660665"/>
                </a:lnTo>
                <a:lnTo>
                  <a:pt x="0" y="2495530"/>
                </a:lnTo>
                <a:lnTo>
                  <a:pt x="0" y="2450523"/>
                </a:lnTo>
                <a:lnTo>
                  <a:pt x="0" y="2246376"/>
                </a:lnTo>
                <a:lnTo>
                  <a:pt x="0" y="2221290"/>
                </a:lnTo>
                <a:lnTo>
                  <a:pt x="0" y="1984894"/>
                </a:lnTo>
                <a:lnTo>
                  <a:pt x="0" y="1976471"/>
                </a:lnTo>
                <a:lnTo>
                  <a:pt x="0" y="197213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702231"/>
                </a:lnTo>
                <a:lnTo>
                  <a:pt x="0" y="1684984"/>
                </a:lnTo>
                <a:lnTo>
                  <a:pt x="0" y="162611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681037" y="257725"/>
            <a:ext cx="8985697" cy="11798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ts val="4600"/>
              </a:lnSpc>
              <a:defRPr sz="4600"/>
            </a:lvl1pPr>
          </a:lstStyle>
          <a:p>
            <a:r>
              <a:rPr lang="en-US" noProof="0" smtClean="0"/>
              <a:t>Click to edit </a:t>
            </a:r>
            <a:br>
              <a:rPr lang="en-US" noProof="0" smtClean="0"/>
            </a:br>
            <a:r>
              <a:rPr lang="en-US" noProof="0" smtClean="0"/>
              <a:t>Master title style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0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81615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02" userDrawn="1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0" y="1278384"/>
            <a:ext cx="4110234" cy="4921200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4"/>
            <a:ext cx="4109625" cy="492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200878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0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3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6" y="1277983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10343921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0" y="1278000"/>
            <a:ext cx="4110234" cy="4929584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3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96661444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0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000"/>
            <a:ext cx="4109625" cy="49295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6" y="1277983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32582871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23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859" y="1278001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4" name="Text Placeholder 2"/>
          <p:cNvSpPr>
            <a:spLocks noGrp="1"/>
          </p:cNvSpPr>
          <p:nvPr>
            <p:ph idx="28"/>
          </p:nvPr>
        </p:nvSpPr>
        <p:spPr bwMode="gray">
          <a:xfrm>
            <a:off x="687030" y="1278001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5" name="Content Placeholder 3"/>
          <p:cNvSpPr>
            <a:spLocks noGrp="1"/>
          </p:cNvSpPr>
          <p:nvPr>
            <p:ph sz="half" idx="29"/>
          </p:nvPr>
        </p:nvSpPr>
        <p:spPr bwMode="gray">
          <a:xfrm>
            <a:off x="5099859" y="3877592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6" name="Text Placeholder 2"/>
          <p:cNvSpPr>
            <a:spLocks noGrp="1"/>
          </p:cNvSpPr>
          <p:nvPr>
            <p:ph idx="30"/>
          </p:nvPr>
        </p:nvSpPr>
        <p:spPr bwMode="gray">
          <a:xfrm>
            <a:off x="687030" y="3877592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31454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 userDrawn="1">
          <p15:clr>
            <a:srgbClr val="FBAE40"/>
          </p15:clr>
        </p15:guide>
        <p15:guide id="0" pos="3948" userDrawn="1">
          <p15:clr>
            <a:srgbClr val="FBAE40"/>
          </p15:clr>
        </p15:guide>
        <p15:guide id="2" orient="horz" pos="2274" userDrawn="1">
          <p15:clr>
            <a:srgbClr val="FBAE40"/>
          </p15:clr>
        </p15:guide>
        <p15:guide id="3" orient="horz" pos="2442" userDrawn="1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2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0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09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3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1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09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121643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2591" userDrawn="1">
          <p15:clr>
            <a:srgbClr val="FBAE40"/>
          </p15:clr>
        </p15:guide>
        <p15:guide id="2" pos="2808" userDrawn="1">
          <p15:clr>
            <a:srgbClr val="FBAE40"/>
          </p15:clr>
        </p15:guide>
        <p15:guide id="3" pos="4866" userDrawn="1">
          <p15:clr>
            <a:srgbClr val="FBAE40"/>
          </p15:clr>
        </p15:guide>
        <p15:guide id="4" pos="5082" userDrawn="1">
          <p15:clr>
            <a:srgbClr val="FBAE40"/>
          </p15:clr>
        </p15:guide>
        <p15:guide id="5" orient="horz" pos="2274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2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0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09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3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1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09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3"/>
            <a:ext cx="265297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622310" y="1277983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6556509" y="1277983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3245653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2" pos="2808">
          <p15:clr>
            <a:srgbClr val="FBAE40"/>
          </p15:clr>
        </p15:guide>
        <p15:guide id="3" pos="4866">
          <p15:clr>
            <a:srgbClr val="FBAE40"/>
          </p15:clr>
        </p15:guide>
        <p15:guide id="4" pos="5082">
          <p15:clr>
            <a:srgbClr val="FBAE40"/>
          </p15:clr>
        </p15:guide>
        <p15:guide id="5" orient="horz" pos="2830" userDrawn="1">
          <p15:clr>
            <a:srgbClr val="FBAE40"/>
          </p15:clr>
        </p15:guide>
        <p15:guide id="6" orient="horz" pos="2998" userDrawn="1">
          <p15:clr>
            <a:srgbClr val="FBAE40"/>
          </p15:clr>
        </p15:guide>
        <p15:guide id="7" pos="2592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26" Type="http://schemas.openxmlformats.org/officeDocument/2006/relationships/image" Target="../media/image6.png"/><Relationship Id="rId3" Type="http://schemas.openxmlformats.org/officeDocument/2006/relationships/slideLayout" Target="../slideLayouts/slideLayout37.xml"/><Relationship Id="rId21" Type="http://schemas.openxmlformats.org/officeDocument/2006/relationships/tags" Target="../tags/tag16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5" Type="http://schemas.openxmlformats.org/officeDocument/2006/relationships/image" Target="../media/image5.png"/><Relationship Id="rId2" Type="http://schemas.openxmlformats.org/officeDocument/2006/relationships/slideLayout" Target="../slideLayouts/slideLayout36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1" Type="http://schemas.openxmlformats.org/officeDocument/2006/relationships/slideLayout" Target="../slideLayouts/slideLayout35.xml"/><Relationship Id="rId6" Type="http://schemas.openxmlformats.org/officeDocument/2006/relationships/vmlDrawing" Target="../drawings/vmlDrawing1.vml"/><Relationship Id="rId11" Type="http://schemas.openxmlformats.org/officeDocument/2006/relationships/tags" Target="../tags/tag6.xml"/><Relationship Id="rId24" Type="http://schemas.openxmlformats.org/officeDocument/2006/relationships/image" Target="../media/image4.emf"/><Relationship Id="rId5" Type="http://schemas.openxmlformats.org/officeDocument/2006/relationships/theme" Target="../theme/theme2.xml"/><Relationship Id="rId15" Type="http://schemas.openxmlformats.org/officeDocument/2006/relationships/tags" Target="../tags/tag10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4" Type="http://schemas.openxmlformats.org/officeDocument/2006/relationships/slideLayout" Target="../slideLayouts/slideLayout38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tags" Target="../tags/tag17.xml"/><Relationship Id="rId27" Type="http://schemas.openxmlformats.org/officeDocument/2006/relationships/image" Target="../media/image7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26" Type="http://schemas.openxmlformats.org/officeDocument/2006/relationships/slideLayout" Target="../slideLayouts/slideLayout64.xml"/><Relationship Id="rId3" Type="http://schemas.openxmlformats.org/officeDocument/2006/relationships/slideLayout" Target="../slideLayouts/slideLayout41.xml"/><Relationship Id="rId21" Type="http://schemas.openxmlformats.org/officeDocument/2006/relationships/slideLayout" Target="../slideLayouts/slideLayout59.xml"/><Relationship Id="rId34" Type="http://schemas.openxmlformats.org/officeDocument/2006/relationships/slideLayout" Target="../slideLayouts/slideLayout72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5" Type="http://schemas.openxmlformats.org/officeDocument/2006/relationships/slideLayout" Target="../slideLayouts/slideLayout63.xml"/><Relationship Id="rId33" Type="http://schemas.openxmlformats.org/officeDocument/2006/relationships/slideLayout" Target="../slideLayouts/slideLayout71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8.xml"/><Relationship Id="rId29" Type="http://schemas.openxmlformats.org/officeDocument/2006/relationships/slideLayout" Target="../slideLayouts/slideLayout67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24" Type="http://schemas.openxmlformats.org/officeDocument/2006/relationships/slideLayout" Target="../slideLayouts/slideLayout62.xml"/><Relationship Id="rId32" Type="http://schemas.openxmlformats.org/officeDocument/2006/relationships/slideLayout" Target="../slideLayouts/slideLayout70.xml"/><Relationship Id="rId37" Type="http://schemas.openxmlformats.org/officeDocument/2006/relationships/image" Target="../media/image2.emf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23" Type="http://schemas.openxmlformats.org/officeDocument/2006/relationships/slideLayout" Target="../slideLayouts/slideLayout61.xml"/><Relationship Id="rId28" Type="http://schemas.openxmlformats.org/officeDocument/2006/relationships/slideLayout" Target="../slideLayouts/slideLayout66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31" Type="http://schemas.openxmlformats.org/officeDocument/2006/relationships/slideLayout" Target="../slideLayouts/slideLayout69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slideLayout" Target="../slideLayouts/slideLayout60.xml"/><Relationship Id="rId27" Type="http://schemas.openxmlformats.org/officeDocument/2006/relationships/slideLayout" Target="../slideLayouts/slideLayout65.xml"/><Relationship Id="rId30" Type="http://schemas.openxmlformats.org/officeDocument/2006/relationships/slideLayout" Target="../slideLayouts/slideLayout68.xml"/><Relationship Id="rId35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tags" Target="../tags/tag25.xml"/><Relationship Id="rId18" Type="http://schemas.openxmlformats.org/officeDocument/2006/relationships/tags" Target="../tags/tag30.xml"/><Relationship Id="rId26" Type="http://schemas.openxmlformats.org/officeDocument/2006/relationships/image" Target="../media/image6.png"/><Relationship Id="rId3" Type="http://schemas.openxmlformats.org/officeDocument/2006/relationships/slideLayout" Target="../slideLayouts/slideLayout75.xml"/><Relationship Id="rId21" Type="http://schemas.openxmlformats.org/officeDocument/2006/relationships/tags" Target="../tags/tag33.xml"/><Relationship Id="rId7" Type="http://schemas.openxmlformats.org/officeDocument/2006/relationships/tags" Target="../tags/tag19.xml"/><Relationship Id="rId12" Type="http://schemas.openxmlformats.org/officeDocument/2006/relationships/tags" Target="../tags/tag24.xml"/><Relationship Id="rId17" Type="http://schemas.openxmlformats.org/officeDocument/2006/relationships/tags" Target="../tags/tag29.xml"/><Relationship Id="rId25" Type="http://schemas.openxmlformats.org/officeDocument/2006/relationships/image" Target="../media/image5.png"/><Relationship Id="rId2" Type="http://schemas.openxmlformats.org/officeDocument/2006/relationships/slideLayout" Target="../slideLayouts/slideLayout74.xml"/><Relationship Id="rId16" Type="http://schemas.openxmlformats.org/officeDocument/2006/relationships/tags" Target="../tags/tag28.xml"/><Relationship Id="rId20" Type="http://schemas.openxmlformats.org/officeDocument/2006/relationships/tags" Target="../tags/tag32.xml"/><Relationship Id="rId1" Type="http://schemas.openxmlformats.org/officeDocument/2006/relationships/slideLayout" Target="../slideLayouts/slideLayout73.xml"/><Relationship Id="rId6" Type="http://schemas.openxmlformats.org/officeDocument/2006/relationships/vmlDrawing" Target="../drawings/vmlDrawing3.vml"/><Relationship Id="rId11" Type="http://schemas.openxmlformats.org/officeDocument/2006/relationships/tags" Target="../tags/tag23.xml"/><Relationship Id="rId24" Type="http://schemas.openxmlformats.org/officeDocument/2006/relationships/image" Target="../media/image4.emf"/><Relationship Id="rId5" Type="http://schemas.openxmlformats.org/officeDocument/2006/relationships/theme" Target="../theme/theme4.xml"/><Relationship Id="rId15" Type="http://schemas.openxmlformats.org/officeDocument/2006/relationships/tags" Target="../tags/tag27.xml"/><Relationship Id="rId23" Type="http://schemas.openxmlformats.org/officeDocument/2006/relationships/oleObject" Target="../embeddings/oleObject3.bin"/><Relationship Id="rId10" Type="http://schemas.openxmlformats.org/officeDocument/2006/relationships/tags" Target="../tags/tag22.xml"/><Relationship Id="rId19" Type="http://schemas.openxmlformats.org/officeDocument/2006/relationships/tags" Target="../tags/tag31.xml"/><Relationship Id="rId4" Type="http://schemas.openxmlformats.org/officeDocument/2006/relationships/slideLayout" Target="../slideLayouts/slideLayout76.xml"/><Relationship Id="rId9" Type="http://schemas.openxmlformats.org/officeDocument/2006/relationships/tags" Target="../tags/tag21.xml"/><Relationship Id="rId14" Type="http://schemas.openxmlformats.org/officeDocument/2006/relationships/tags" Target="../tags/tag26.xml"/><Relationship Id="rId22" Type="http://schemas.openxmlformats.org/officeDocument/2006/relationships/tags" Target="../tags/tag34.xml"/><Relationship Id="rId27" Type="http://schemas.openxmlformats.org/officeDocument/2006/relationships/image" Target="../media/image7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13" Type="http://schemas.openxmlformats.org/officeDocument/2006/relationships/slideLayout" Target="../slideLayouts/slideLayout89.xml"/><Relationship Id="rId18" Type="http://schemas.openxmlformats.org/officeDocument/2006/relationships/slideLayout" Target="../slideLayouts/slideLayout94.xml"/><Relationship Id="rId26" Type="http://schemas.openxmlformats.org/officeDocument/2006/relationships/slideLayout" Target="../slideLayouts/slideLayout102.xml"/><Relationship Id="rId3" Type="http://schemas.openxmlformats.org/officeDocument/2006/relationships/slideLayout" Target="../slideLayouts/slideLayout79.xml"/><Relationship Id="rId21" Type="http://schemas.openxmlformats.org/officeDocument/2006/relationships/slideLayout" Target="../slideLayouts/slideLayout97.xml"/><Relationship Id="rId34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88.xml"/><Relationship Id="rId17" Type="http://schemas.openxmlformats.org/officeDocument/2006/relationships/slideLayout" Target="../slideLayouts/slideLayout93.xml"/><Relationship Id="rId25" Type="http://schemas.openxmlformats.org/officeDocument/2006/relationships/slideLayout" Target="../slideLayouts/slideLayout101.xml"/><Relationship Id="rId33" Type="http://schemas.openxmlformats.org/officeDocument/2006/relationships/slideLayout" Target="../slideLayouts/slideLayout109.xml"/><Relationship Id="rId2" Type="http://schemas.openxmlformats.org/officeDocument/2006/relationships/slideLayout" Target="../slideLayouts/slideLayout78.xml"/><Relationship Id="rId16" Type="http://schemas.openxmlformats.org/officeDocument/2006/relationships/slideLayout" Target="../slideLayouts/slideLayout92.xml"/><Relationship Id="rId20" Type="http://schemas.openxmlformats.org/officeDocument/2006/relationships/slideLayout" Target="../slideLayouts/slideLayout96.xml"/><Relationship Id="rId29" Type="http://schemas.openxmlformats.org/officeDocument/2006/relationships/slideLayout" Target="../slideLayouts/slideLayout105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87.xml"/><Relationship Id="rId24" Type="http://schemas.openxmlformats.org/officeDocument/2006/relationships/slideLayout" Target="../slideLayouts/slideLayout100.xml"/><Relationship Id="rId32" Type="http://schemas.openxmlformats.org/officeDocument/2006/relationships/slideLayout" Target="../slideLayouts/slideLayout108.xml"/><Relationship Id="rId37" Type="http://schemas.openxmlformats.org/officeDocument/2006/relationships/image" Target="../media/image2.emf"/><Relationship Id="rId5" Type="http://schemas.openxmlformats.org/officeDocument/2006/relationships/slideLayout" Target="../slideLayouts/slideLayout81.xml"/><Relationship Id="rId15" Type="http://schemas.openxmlformats.org/officeDocument/2006/relationships/slideLayout" Target="../slideLayouts/slideLayout91.xml"/><Relationship Id="rId23" Type="http://schemas.openxmlformats.org/officeDocument/2006/relationships/slideLayout" Target="../slideLayouts/slideLayout99.xml"/><Relationship Id="rId28" Type="http://schemas.openxmlformats.org/officeDocument/2006/relationships/slideLayout" Target="../slideLayouts/slideLayout104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86.xml"/><Relationship Id="rId19" Type="http://schemas.openxmlformats.org/officeDocument/2006/relationships/slideLayout" Target="../slideLayouts/slideLayout95.xml"/><Relationship Id="rId31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Relationship Id="rId14" Type="http://schemas.openxmlformats.org/officeDocument/2006/relationships/slideLayout" Target="../slideLayouts/slideLayout90.xml"/><Relationship Id="rId22" Type="http://schemas.openxmlformats.org/officeDocument/2006/relationships/slideLayout" Target="../slideLayouts/slideLayout98.xml"/><Relationship Id="rId27" Type="http://schemas.openxmlformats.org/officeDocument/2006/relationships/slideLayout" Target="../slideLayouts/slideLayout103.xml"/><Relationship Id="rId30" Type="http://schemas.openxmlformats.org/officeDocument/2006/relationships/slideLayout" Target="../slideLayouts/slideLayout106.xml"/><Relationship Id="rId35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>
          <a:xfrm>
            <a:off x="563662" y="6230182"/>
            <a:ext cx="9342338" cy="627821"/>
            <a:chOff x="693738" y="6230179"/>
            <a:chExt cx="11498262" cy="627821"/>
          </a:xfrm>
        </p:grpSpPr>
        <p:sp>
          <p:nvSpPr>
            <p:cNvPr id="37" name="Freeform 9"/>
            <p:cNvSpPr>
              <a:spLocks/>
            </p:cNvSpPr>
            <p:nvPr userDrawn="1"/>
          </p:nvSpPr>
          <p:spPr bwMode="auto">
            <a:xfrm>
              <a:off x="693738" y="6432353"/>
              <a:ext cx="10988675" cy="131762"/>
            </a:xfrm>
            <a:custGeom>
              <a:avLst/>
              <a:gdLst>
                <a:gd name="T0" fmla="*/ 2927 w 2927"/>
                <a:gd name="T1" fmla="*/ 0 h 32"/>
                <a:gd name="T2" fmla="*/ 32 w 2927"/>
                <a:gd name="T3" fmla="*/ 0 h 32"/>
                <a:gd name="T4" fmla="*/ 0 w 2927"/>
                <a:gd name="T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27" h="32">
                  <a:moveTo>
                    <a:pt x="292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32"/>
                    <a:pt x="0" y="32"/>
                  </a:cubicBezTo>
                </a:path>
              </a:pathLst>
            </a:custGeom>
            <a:noFill/>
            <a:ln w="3175" cap="flat">
              <a:solidFill>
                <a:srgbClr val="33333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Rectangle 37"/>
            <p:cNvSpPr/>
            <p:nvPr userDrawn="1"/>
          </p:nvSpPr>
          <p:spPr bwMode="white">
            <a:xfrm>
              <a:off x="10419789" y="6230179"/>
              <a:ext cx="1772211" cy="627821"/>
            </a:xfrm>
            <a:prstGeom prst="rect">
              <a:avLst/>
            </a:prstGeom>
            <a:solidFill>
              <a:srgbClr val="FFFFFF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600" smtClean="0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687031" y="280736"/>
            <a:ext cx="8522455" cy="8540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87031" y="1278003"/>
            <a:ext cx="8522455" cy="49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81038" y="6498812"/>
            <a:ext cx="402431" cy="18811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DDD2A080-DA64-4F5C-9131-47EB793B4410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02" name="Group 101"/>
          <p:cNvGrpSpPr/>
          <p:nvPr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10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11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2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2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-1657860" y="6362703"/>
            <a:ext cx="1521000" cy="500063"/>
            <a:chOff x="-2040443" y="6445247"/>
            <a:chExt cx="1872000" cy="417516"/>
          </a:xfrm>
        </p:grpSpPr>
        <p:sp>
          <p:nvSpPr>
            <p:cNvPr id="47" name="Rectangle 104"/>
            <p:cNvSpPr>
              <a:spLocks noChangeArrowheads="1"/>
            </p:cNvSpPr>
            <p:nvPr userDrawn="1"/>
          </p:nvSpPr>
          <p:spPr bwMode="gray">
            <a:xfrm>
              <a:off x="-2040443" y="6445247"/>
              <a:ext cx="1462593" cy="417516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lIns="72000" tIns="180000" rIns="72000" bIns="180000" anchor="ctr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1200" b="1" i="0" u="none" strike="noStrike" kern="0" cap="none" spc="0" normalizeH="0" baseline="0" dirty="0" smtClean="0">
                  <a:ln>
                    <a:noFill/>
                  </a:ln>
                  <a:solidFill>
                    <a:srgbClr val="FDFDFD"/>
                  </a:solidFill>
                  <a:effectLst/>
                  <a:uLnTx/>
                  <a:uFillTx/>
                  <a:latin typeface="+mn-lt"/>
                </a:rPr>
                <a:t>No content below </a:t>
              </a:r>
              <a:br>
                <a:rPr kumimoji="0" lang="en-GB" altLang="en-US" sz="1200" b="1" i="0" u="none" strike="noStrike" kern="0" cap="none" spc="0" normalizeH="0" baseline="0" dirty="0" smtClean="0">
                  <a:ln>
                    <a:noFill/>
                  </a:ln>
                  <a:solidFill>
                    <a:srgbClr val="FDFDFD"/>
                  </a:solidFill>
                  <a:effectLst/>
                  <a:uLnTx/>
                  <a:uFillTx/>
                  <a:latin typeface="+mn-lt"/>
                </a:rPr>
              </a:br>
              <a:r>
                <a:rPr kumimoji="0" lang="en-GB" altLang="en-US" sz="1200" b="1" i="0" u="none" strike="noStrike" kern="0" cap="none" spc="0" normalizeH="0" baseline="0" dirty="0" smtClean="0">
                  <a:ln>
                    <a:noFill/>
                  </a:ln>
                  <a:solidFill>
                    <a:srgbClr val="FDFDFD"/>
                  </a:solidFill>
                  <a:effectLst/>
                  <a:uLnTx/>
                  <a:uFillTx/>
                  <a:latin typeface="+mn-lt"/>
                </a:rPr>
                <a:t>the grey line</a:t>
              </a:r>
              <a:endParaRPr kumimoji="0" lang="en-GB" altLang="en-US" sz="1200" b="1" i="0" u="none" strike="noStrike" kern="0" cap="none" spc="0" normalizeH="0" baseline="0" dirty="0">
                <a:ln>
                  <a:noFill/>
                </a:ln>
                <a:solidFill>
                  <a:srgbClr val="FDFDFD"/>
                </a:solidFill>
                <a:effectLst/>
                <a:uLnTx/>
                <a:uFillTx/>
                <a:latin typeface="+mn-lt"/>
              </a:endParaRPr>
            </a:p>
          </p:txBody>
        </p:sp>
        <p:grpSp>
          <p:nvGrpSpPr>
            <p:cNvPr id="48" name="Group 47"/>
            <p:cNvGrpSpPr/>
            <p:nvPr userDrawn="1"/>
          </p:nvGrpSpPr>
          <p:grpSpPr bwMode="gray">
            <a:xfrm>
              <a:off x="-546100" y="6452392"/>
              <a:ext cx="377657" cy="403227"/>
              <a:chOff x="-2035174" y="6454773"/>
              <a:chExt cx="1872000" cy="403227"/>
            </a:xfrm>
          </p:grpSpPr>
          <p:cxnSp>
            <p:nvCxnSpPr>
              <p:cNvPr id="49" name="Straight Connector 48"/>
              <p:cNvCxnSpPr/>
              <p:nvPr userDrawn="1"/>
            </p:nvCxnSpPr>
            <p:spPr bwMode="gray">
              <a:xfrm>
                <a:off x="-2035174" y="6858000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  <p:cxnSp>
            <p:nvCxnSpPr>
              <p:cNvPr id="50" name="Straight Connector 49"/>
              <p:cNvCxnSpPr/>
              <p:nvPr userDrawn="1"/>
            </p:nvCxnSpPr>
            <p:spPr bwMode="gray">
              <a:xfrm>
                <a:off x="-2035174" y="6454773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</p:grpSp>
      </p:grpSp>
      <p:pic>
        <p:nvPicPr>
          <p:cNvPr id="35" name="Picture 34"/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9967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685" r:id="rId2"/>
    <p:sldLayoutId id="2147483737" r:id="rId3"/>
    <p:sldLayoutId id="2147483729" r:id="rId4"/>
    <p:sldLayoutId id="2147483730" r:id="rId5"/>
    <p:sldLayoutId id="2147483725" r:id="rId6"/>
    <p:sldLayoutId id="2147483727" r:id="rId7"/>
    <p:sldLayoutId id="2147483728" r:id="rId8"/>
    <p:sldLayoutId id="2147483732" r:id="rId9"/>
    <p:sldLayoutId id="2147483733" r:id="rId10"/>
    <p:sldLayoutId id="2147483734" r:id="rId11"/>
    <p:sldLayoutId id="2147483735" r:id="rId12"/>
    <p:sldLayoutId id="2147483692" r:id="rId13"/>
    <p:sldLayoutId id="2147483711" r:id="rId14"/>
    <p:sldLayoutId id="2147483694" r:id="rId15"/>
    <p:sldLayoutId id="2147483695" r:id="rId16"/>
    <p:sldLayoutId id="2147483696" r:id="rId17"/>
    <p:sldLayoutId id="2147483736" r:id="rId18"/>
    <p:sldLayoutId id="2147483738" r:id="rId19"/>
    <p:sldLayoutId id="2147483739" r:id="rId20"/>
    <p:sldLayoutId id="2147483731" r:id="rId21"/>
    <p:sldLayoutId id="2147483697" r:id="rId22"/>
    <p:sldLayoutId id="2147483740" r:id="rId23"/>
    <p:sldLayoutId id="2147483716" r:id="rId24"/>
    <p:sldLayoutId id="2147483718" r:id="rId25"/>
    <p:sldLayoutId id="2147483719" r:id="rId26"/>
    <p:sldLayoutId id="2147483700" r:id="rId27"/>
    <p:sldLayoutId id="2147483743" r:id="rId28"/>
    <p:sldLayoutId id="2147483742" r:id="rId29"/>
    <p:sldLayoutId id="2147483741" r:id="rId30"/>
    <p:sldLayoutId id="2147483702" r:id="rId31"/>
    <p:sldLayoutId id="2147483721" r:id="rId32"/>
    <p:sldLayoutId id="2147483706" r:id="rId33"/>
    <p:sldLayoutId id="2147483726" r:id="rId34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ts val="2800"/>
        </a:lnSpc>
        <a:spcBef>
          <a:spcPct val="0"/>
        </a:spcBef>
        <a:buNone/>
        <a:defRPr sz="2800" b="1" kern="1200" baseline="0">
          <a:solidFill>
            <a:schemeClr val="tx2"/>
          </a:solidFill>
          <a:latin typeface="+mj-lt"/>
          <a:ea typeface="+mj-ea"/>
          <a:cs typeface="ING Me" pitchFamily="2" charset="0"/>
        </a:defRPr>
      </a:lvl1pPr>
    </p:titleStyle>
    <p:bodyStyle>
      <a:lvl1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b="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1pPr>
      <a:lvl2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2pPr>
      <a:lvl3pPr marL="266700" indent="-26670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tx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3pPr>
      <a:lvl4pPr marL="512763" indent="-26035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bg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4pPr>
      <a:lvl5pPr marL="762000" indent="-252413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accent3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3" orient="horz" pos="721" userDrawn="1">
          <p15:clr>
            <a:srgbClr val="F26B43"/>
          </p15:clr>
        </p15:guide>
        <p15:guide id="6" pos="7140" userDrawn="1">
          <p15:clr>
            <a:srgbClr val="F26B43"/>
          </p15:clr>
        </p15:guide>
        <p15:guide id="8" pos="528" userDrawn="1">
          <p15:clr>
            <a:srgbClr val="F26B43"/>
          </p15:clr>
        </p15:guide>
        <p15:guide id="9" orient="horz" pos="173" userDrawn="1">
          <p15:clr>
            <a:srgbClr val="F26B43"/>
          </p15:clr>
        </p15:guide>
        <p15:guide id="10" orient="horz" pos="4008" userDrawn="1">
          <p15:clr>
            <a:srgbClr val="F26B43"/>
          </p15:clr>
        </p15:guide>
        <p15:guide id="11" orient="horz" pos="3906" userDrawn="1">
          <p15:clr>
            <a:srgbClr val="F26B43"/>
          </p15:clr>
        </p15:guide>
        <p15:guide id="12" orient="horz" pos="800" userDrawn="1">
          <p15:clr>
            <a:srgbClr val="F26B43"/>
          </p15:clr>
        </p15:guide>
        <p15:guide id="13" pos="7491" userDrawn="1">
          <p15:clr>
            <a:srgbClr val="F26B43"/>
          </p15:clr>
        </p15:guide>
        <p15:guide id="14" pos="437" userDrawn="1">
          <p15:clr>
            <a:srgbClr val="F26B43"/>
          </p15:clr>
        </p15:guide>
        <p15:guide id="15" pos="3834" userDrawn="1">
          <p15:clr>
            <a:srgbClr val="F26B43"/>
          </p15:clr>
        </p15:guide>
        <p15:guide id="16" orient="horz" pos="2358" userDrawn="1">
          <p15:clr>
            <a:srgbClr val="F26B43"/>
          </p15:clr>
        </p15:guide>
        <p15:guide id="17" pos="739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148123461"/>
              </p:ext>
            </p:extLst>
          </p:nvPr>
        </p:nvGraphicFramePr>
        <p:xfrm>
          <a:off x="1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4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612108" y="2443422"/>
            <a:ext cx="2433358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smtClean="0">
                <a:solidFill>
                  <a:srgbClr val="000000"/>
                </a:solidFill>
                <a:latin typeface="Arial"/>
              </a:rPr>
              <a:t>Last Modified 11/20/2015 3:14 PM W. Europe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712296" y="4661402"/>
            <a:ext cx="2232984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smtClean="0">
                <a:solidFill>
                  <a:srgbClr val="000000"/>
                </a:solidFill>
                <a:latin typeface="Arial"/>
              </a:rPr>
              <a:t>Printed 11/20/2015 11:18 AM W. Europe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478694" y="2649305"/>
            <a:ext cx="4755582" cy="14619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1614" y="413283"/>
            <a:ext cx="9236802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1612" y="16385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31614" y="5638350"/>
            <a:ext cx="9236802" cy="464862"/>
            <a:chOff x="75" y="3872"/>
            <a:chExt cx="5385" cy="28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2"/>
              <a:ext cx="538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27000" indent="-1270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45"/>
              <a:ext cx="538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740725" indent="-740725" defTabSz="1087940" fontAlgn="base">
                <a:spcBef>
                  <a:spcPct val="0"/>
                </a:spcBef>
                <a:spcAft>
                  <a:spcPct val="0"/>
                </a:spcAft>
                <a:tabLst>
                  <a:tab pos="744583" algn="l"/>
                </a:tabLst>
              </a:pPr>
              <a:r>
                <a:rPr lang="en-US" sz="1200" dirty="0">
                  <a:solidFill>
                    <a:srgbClr val="000000"/>
                  </a:solidFill>
                </a:rPr>
                <a:t>SOURCE: </a:t>
              </a:r>
              <a:r>
                <a:rPr lang="en-US" sz="1200" dirty="0" smtClean="0">
                  <a:solidFill>
                    <a:srgbClr val="000000"/>
                  </a:solidFill>
                </a:rPr>
                <a:t>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478695" y="1914002"/>
            <a:ext cx="4713466" cy="602545"/>
            <a:chOff x="915" y="658"/>
            <a:chExt cx="2686" cy="37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58"/>
              <a:ext cx="2686" cy="37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9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9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pic>
        <p:nvPicPr>
          <p:cNvPr id="22" name="Picture 38" descr="GradientShadow.png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74713"/>
            <a:ext cx="9900843" cy="10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36" descr="GradientShadow.png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38863"/>
            <a:ext cx="9900843" cy="10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3" y="893222"/>
            <a:ext cx="952695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34" name="LegendBoxes" hidden="1"/>
          <p:cNvGrpSpPr>
            <a:grpSpLocks/>
          </p:cNvGrpSpPr>
          <p:nvPr/>
        </p:nvGrpSpPr>
        <p:grpSpPr bwMode="auto">
          <a:xfrm>
            <a:off x="8541192" y="953735"/>
            <a:ext cx="957925" cy="1329268"/>
            <a:chOff x="4936" y="176"/>
            <a:chExt cx="557" cy="628"/>
          </a:xfrm>
        </p:grpSpPr>
        <p:sp>
          <p:nvSpPr>
            <p:cNvPr id="35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6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1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</p:grpSp>
      <p:grpSp>
        <p:nvGrpSpPr>
          <p:cNvPr id="43" name="LegendLines" hidden="1"/>
          <p:cNvGrpSpPr>
            <a:grpSpLocks/>
          </p:cNvGrpSpPr>
          <p:nvPr/>
        </p:nvGrpSpPr>
        <p:grpSpPr bwMode="auto">
          <a:xfrm>
            <a:off x="8207556" y="953735"/>
            <a:ext cx="1291564" cy="973668"/>
            <a:chOff x="4750" y="176"/>
            <a:chExt cx="751" cy="460"/>
          </a:xfrm>
        </p:grpSpPr>
        <p:sp>
          <p:nvSpPr>
            <p:cNvPr id="44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5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6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7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50" name="McKSticker" hidden="1"/>
          <p:cNvGrpSpPr/>
          <p:nvPr/>
        </p:nvGrpSpPr>
        <p:grpSpPr bwMode="auto">
          <a:xfrm>
            <a:off x="7946996" y="953736"/>
            <a:ext cx="1421415" cy="283154"/>
            <a:chOff x="7428698" y="285750"/>
            <a:chExt cx="1312077" cy="212365"/>
          </a:xfrm>
        </p:grpSpPr>
        <p:sp>
          <p:nvSpPr>
            <p:cNvPr id="51" name="StickerRectangle"/>
            <p:cNvSpPr>
              <a:spLocks noChangeArrowheads="1"/>
            </p:cNvSpPr>
            <p:nvPr/>
          </p:nvSpPr>
          <p:spPr bwMode="auto">
            <a:xfrm>
              <a:off x="7428698" y="285750"/>
              <a:ext cx="1312077" cy="21236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36576" tIns="0" rIns="0" bIns="36576">
              <a:spAutoFit/>
            </a:bodyPr>
            <a:lstStyle/>
            <a:p>
              <a:pPr algn="r"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52" name="AutoShape 31"/>
            <p:cNvCxnSpPr>
              <a:cxnSpLocks noChangeShapeType="1"/>
              <a:stCxn id="51" idx="2"/>
              <a:endCxn id="51" idx="4"/>
            </p:cNvCxnSpPr>
            <p:nvPr/>
          </p:nvCxnSpPr>
          <p:spPr bwMode="auto">
            <a:xfrm>
              <a:off x="7428698" y="285750"/>
              <a:ext cx="0" cy="21236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3" name="AutoShape 32"/>
            <p:cNvCxnSpPr>
              <a:cxnSpLocks noChangeShapeType="1"/>
              <a:stCxn id="51" idx="4"/>
              <a:endCxn id="51" idx="6"/>
            </p:cNvCxnSpPr>
            <p:nvPr/>
          </p:nvCxnSpPr>
          <p:spPr bwMode="auto">
            <a:xfrm>
              <a:off x="7428698" y="498115"/>
              <a:ext cx="1312077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4" name="LegendMoons" hidden="1"/>
          <p:cNvGrpSpPr/>
          <p:nvPr/>
        </p:nvGrpSpPr>
        <p:grpSpPr bwMode="auto">
          <a:xfrm>
            <a:off x="8468787" y="953737"/>
            <a:ext cx="1030277" cy="1742021"/>
            <a:chOff x="7769225" y="2105025"/>
            <a:chExt cx="951024" cy="1306516"/>
          </a:xfrm>
        </p:grpSpPr>
        <p:grpSp>
          <p:nvGrpSpPr>
            <p:cNvPr id="55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73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Arc 39" hidden="1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6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71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7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9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8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67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9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0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1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2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3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6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65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5" name="Slide Number"/>
          <p:cNvSpPr txBox="1">
            <a:spLocks/>
          </p:cNvSpPr>
          <p:nvPr/>
        </p:nvSpPr>
        <p:spPr bwMode="auto">
          <a:xfrm>
            <a:off x="131613" y="6493947"/>
            <a:ext cx="187552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200" b="1" smtClean="0">
                <a:solidFill>
                  <a:srgbClr val="FF66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200" b="1" dirty="0">
              <a:solidFill>
                <a:srgbClr val="FF6600"/>
              </a:solidFill>
            </a:endParaRPr>
          </a:p>
        </p:txBody>
      </p:sp>
      <p:grpSp>
        <p:nvGrpSpPr>
          <p:cNvPr id="76" name="Group 75"/>
          <p:cNvGrpSpPr>
            <a:grpSpLocks/>
          </p:cNvGrpSpPr>
          <p:nvPr/>
        </p:nvGrpSpPr>
        <p:grpSpPr bwMode="auto">
          <a:xfrm>
            <a:off x="537587" y="6321425"/>
            <a:ext cx="8830830" cy="357188"/>
            <a:chOff x="930275" y="6321425"/>
            <a:chExt cx="10874375" cy="357188"/>
          </a:xfrm>
        </p:grpSpPr>
        <p:pic>
          <p:nvPicPr>
            <p:cNvPr id="77" name="Picture 32" descr="thinkforward.png"/>
            <p:cNvPicPr>
              <a:picLocks noChangeAspect="1"/>
            </p:cNvPicPr>
            <p:nvPr userDrawn="1"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275" y="6421438"/>
              <a:ext cx="1955800" cy="25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8" name="Picture 33"/>
            <p:cNvPicPr>
              <a:picLocks noChangeAspect="1"/>
            </p:cNvPicPr>
            <p:nvPr userDrawn="1"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66375" y="6321425"/>
              <a:ext cx="1438275" cy="357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027837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087940" rtl="0" eaLnBrk="1" fontAlgn="base" hangingPunct="1">
        <a:spcBef>
          <a:spcPct val="0"/>
        </a:spcBef>
        <a:spcAft>
          <a:spcPct val="0"/>
        </a:spcAft>
        <a:tabLst>
          <a:tab pos="327925" algn="l"/>
        </a:tabLst>
        <a:defRPr sz="2800" b="0" baseline="0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2pPr>
      <a:lvl3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3pPr>
      <a:lvl4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4pPr>
      <a:lvl5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5pPr>
      <a:lvl6pPr marL="555544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6pPr>
      <a:lvl7pPr marL="1111087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7pPr>
      <a:lvl8pPr marL="1666631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8pPr>
      <a:lvl9pPr marL="2222175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235334" indent="-23340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555544" indent="-318281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746512" indent="-189039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•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6pPr>
      <a:lvl7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7pPr>
      <a:lvl8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8pPr>
      <a:lvl9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55544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111087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66631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222175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77719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333262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88806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444350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>
          <a:xfrm>
            <a:off x="563662" y="6230182"/>
            <a:ext cx="9342338" cy="627821"/>
            <a:chOff x="693738" y="6230179"/>
            <a:chExt cx="11498262" cy="627821"/>
          </a:xfrm>
        </p:grpSpPr>
        <p:sp>
          <p:nvSpPr>
            <p:cNvPr id="37" name="Freeform 9"/>
            <p:cNvSpPr>
              <a:spLocks/>
            </p:cNvSpPr>
            <p:nvPr userDrawn="1"/>
          </p:nvSpPr>
          <p:spPr bwMode="auto">
            <a:xfrm>
              <a:off x="693738" y="6432353"/>
              <a:ext cx="10988675" cy="131762"/>
            </a:xfrm>
            <a:custGeom>
              <a:avLst/>
              <a:gdLst>
                <a:gd name="T0" fmla="*/ 2927 w 2927"/>
                <a:gd name="T1" fmla="*/ 0 h 32"/>
                <a:gd name="T2" fmla="*/ 32 w 2927"/>
                <a:gd name="T3" fmla="*/ 0 h 32"/>
                <a:gd name="T4" fmla="*/ 0 w 2927"/>
                <a:gd name="T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27" h="32">
                  <a:moveTo>
                    <a:pt x="292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32"/>
                    <a:pt x="0" y="32"/>
                  </a:cubicBezTo>
                </a:path>
              </a:pathLst>
            </a:custGeom>
            <a:noFill/>
            <a:ln w="3175" cap="flat">
              <a:solidFill>
                <a:srgbClr val="33333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38" name="Rectangle 37"/>
            <p:cNvSpPr/>
            <p:nvPr userDrawn="1"/>
          </p:nvSpPr>
          <p:spPr bwMode="white">
            <a:xfrm>
              <a:off x="10419789" y="6230179"/>
              <a:ext cx="1772211" cy="627821"/>
            </a:xfrm>
            <a:prstGeom prst="rect">
              <a:avLst/>
            </a:prstGeom>
            <a:solidFill>
              <a:srgbClr val="FFFFFF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600" smtClean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687031" y="280736"/>
            <a:ext cx="8522455" cy="8540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87031" y="1278003"/>
            <a:ext cx="8522455" cy="49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81038" y="6498812"/>
            <a:ext cx="402431" cy="18811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grpSp>
        <p:nvGrpSpPr>
          <p:cNvPr id="102" name="Group 101"/>
          <p:cNvGrpSpPr/>
          <p:nvPr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10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11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-1657860" y="6362703"/>
            <a:ext cx="1521000" cy="500063"/>
            <a:chOff x="-2040443" y="6445247"/>
            <a:chExt cx="1872000" cy="417516"/>
          </a:xfrm>
        </p:grpSpPr>
        <p:sp>
          <p:nvSpPr>
            <p:cNvPr id="47" name="Rectangle 104"/>
            <p:cNvSpPr>
              <a:spLocks noChangeArrowheads="1"/>
            </p:cNvSpPr>
            <p:nvPr userDrawn="1"/>
          </p:nvSpPr>
          <p:spPr bwMode="gray">
            <a:xfrm>
              <a:off x="-2040443" y="6445247"/>
              <a:ext cx="1462593" cy="417516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lIns="72000" tIns="180000" rIns="72000" bIns="18000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defRPr/>
              </a:pPr>
              <a:r>
                <a:rPr lang="en-GB" altLang="en-US" sz="1200" b="1" kern="0" dirty="0" smtClean="0">
                  <a:solidFill>
                    <a:srgbClr val="FDFDFD"/>
                  </a:solidFill>
                </a:rPr>
                <a:t>No content below </a:t>
              </a:r>
              <a:br>
                <a:rPr lang="en-GB" altLang="en-US" sz="1200" b="1" kern="0" dirty="0" smtClean="0">
                  <a:solidFill>
                    <a:srgbClr val="FDFDFD"/>
                  </a:solidFill>
                </a:rPr>
              </a:br>
              <a:r>
                <a:rPr lang="en-GB" altLang="en-US" sz="1200" b="1" kern="0" dirty="0" smtClean="0">
                  <a:solidFill>
                    <a:srgbClr val="FDFDFD"/>
                  </a:solidFill>
                </a:rPr>
                <a:t>the grey line</a:t>
              </a:r>
              <a:endParaRPr lang="en-GB" altLang="en-US" sz="1200" b="1" kern="0" dirty="0">
                <a:solidFill>
                  <a:srgbClr val="FDFDFD"/>
                </a:solidFill>
              </a:endParaRPr>
            </a:p>
          </p:txBody>
        </p:sp>
        <p:grpSp>
          <p:nvGrpSpPr>
            <p:cNvPr id="48" name="Group 47"/>
            <p:cNvGrpSpPr/>
            <p:nvPr userDrawn="1"/>
          </p:nvGrpSpPr>
          <p:grpSpPr bwMode="gray">
            <a:xfrm>
              <a:off x="-546100" y="6452392"/>
              <a:ext cx="377657" cy="403227"/>
              <a:chOff x="-2035174" y="6454773"/>
              <a:chExt cx="1872000" cy="403227"/>
            </a:xfrm>
          </p:grpSpPr>
          <p:cxnSp>
            <p:nvCxnSpPr>
              <p:cNvPr id="49" name="Straight Connector 48"/>
              <p:cNvCxnSpPr/>
              <p:nvPr userDrawn="1"/>
            </p:nvCxnSpPr>
            <p:spPr bwMode="gray">
              <a:xfrm>
                <a:off x="-2035174" y="6858000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  <p:cxnSp>
            <p:nvCxnSpPr>
              <p:cNvPr id="50" name="Straight Connector 49"/>
              <p:cNvCxnSpPr/>
              <p:nvPr userDrawn="1"/>
            </p:nvCxnSpPr>
            <p:spPr bwMode="gray">
              <a:xfrm>
                <a:off x="-2035174" y="6454773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</p:grpSp>
      </p:grpSp>
      <p:pic>
        <p:nvPicPr>
          <p:cNvPr id="35" name="Picture 34"/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9879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  <p:sldLayoutId id="2147483761" r:id="rId12"/>
    <p:sldLayoutId id="2147483762" r:id="rId13"/>
    <p:sldLayoutId id="2147483763" r:id="rId14"/>
    <p:sldLayoutId id="2147483764" r:id="rId15"/>
    <p:sldLayoutId id="2147483765" r:id="rId16"/>
    <p:sldLayoutId id="2147483766" r:id="rId17"/>
    <p:sldLayoutId id="2147483767" r:id="rId18"/>
    <p:sldLayoutId id="2147483768" r:id="rId19"/>
    <p:sldLayoutId id="2147483769" r:id="rId20"/>
    <p:sldLayoutId id="2147483770" r:id="rId21"/>
    <p:sldLayoutId id="2147483771" r:id="rId22"/>
    <p:sldLayoutId id="2147483772" r:id="rId23"/>
    <p:sldLayoutId id="2147483773" r:id="rId24"/>
    <p:sldLayoutId id="2147483774" r:id="rId25"/>
    <p:sldLayoutId id="2147483775" r:id="rId26"/>
    <p:sldLayoutId id="2147483776" r:id="rId27"/>
    <p:sldLayoutId id="2147483777" r:id="rId28"/>
    <p:sldLayoutId id="2147483778" r:id="rId29"/>
    <p:sldLayoutId id="2147483779" r:id="rId30"/>
    <p:sldLayoutId id="2147483780" r:id="rId31"/>
    <p:sldLayoutId id="2147483781" r:id="rId32"/>
    <p:sldLayoutId id="2147483782" r:id="rId33"/>
    <p:sldLayoutId id="2147483783" r:id="rId34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ts val="2800"/>
        </a:lnSpc>
        <a:spcBef>
          <a:spcPct val="0"/>
        </a:spcBef>
        <a:buNone/>
        <a:defRPr sz="2800" b="1" kern="1200" baseline="0">
          <a:solidFill>
            <a:schemeClr val="tx2"/>
          </a:solidFill>
          <a:latin typeface="+mj-lt"/>
          <a:ea typeface="+mj-ea"/>
          <a:cs typeface="ING Me" pitchFamily="2" charset="0"/>
        </a:defRPr>
      </a:lvl1pPr>
    </p:titleStyle>
    <p:bodyStyle>
      <a:lvl1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b="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1pPr>
      <a:lvl2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2pPr>
      <a:lvl3pPr marL="266700" indent="-26670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tx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3pPr>
      <a:lvl4pPr marL="512763" indent="-26035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bg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4pPr>
      <a:lvl5pPr marL="762000" indent="-252413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accent3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3" orient="horz" pos="721" userDrawn="1">
          <p15:clr>
            <a:srgbClr val="F26B43"/>
          </p15:clr>
        </p15:guide>
        <p15:guide id="6" pos="7140" userDrawn="1">
          <p15:clr>
            <a:srgbClr val="F26B43"/>
          </p15:clr>
        </p15:guide>
        <p15:guide id="8" pos="528" userDrawn="1">
          <p15:clr>
            <a:srgbClr val="F26B43"/>
          </p15:clr>
        </p15:guide>
        <p15:guide id="9" orient="horz" pos="173" userDrawn="1">
          <p15:clr>
            <a:srgbClr val="F26B43"/>
          </p15:clr>
        </p15:guide>
        <p15:guide id="10" orient="horz" pos="4008" userDrawn="1">
          <p15:clr>
            <a:srgbClr val="F26B43"/>
          </p15:clr>
        </p15:guide>
        <p15:guide id="11" orient="horz" pos="3906" userDrawn="1">
          <p15:clr>
            <a:srgbClr val="F26B43"/>
          </p15:clr>
        </p15:guide>
        <p15:guide id="12" orient="horz" pos="800" userDrawn="1">
          <p15:clr>
            <a:srgbClr val="F26B43"/>
          </p15:clr>
        </p15:guide>
        <p15:guide id="13" pos="7491" userDrawn="1">
          <p15:clr>
            <a:srgbClr val="F26B43"/>
          </p15:clr>
        </p15:guide>
        <p15:guide id="14" pos="437" userDrawn="1">
          <p15:clr>
            <a:srgbClr val="F26B43"/>
          </p15:clr>
        </p15:guide>
        <p15:guide id="15" pos="3834" userDrawn="1">
          <p15:clr>
            <a:srgbClr val="F26B43"/>
          </p15:clr>
        </p15:guide>
        <p15:guide id="16" orient="horz" pos="2358" userDrawn="1">
          <p15:clr>
            <a:srgbClr val="F26B43"/>
          </p15:clr>
        </p15:guide>
        <p15:guide id="17" pos="7398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43290677"/>
              </p:ext>
            </p:extLst>
          </p:nvPr>
        </p:nvGraphicFramePr>
        <p:xfrm>
          <a:off x="0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2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612108" y="2443422"/>
            <a:ext cx="2433358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smtClean="0">
                <a:solidFill>
                  <a:srgbClr val="000000"/>
                </a:solidFill>
                <a:latin typeface="Arial"/>
              </a:rPr>
              <a:t>Last Modified 11/20/2015 3:14 PM W. Europe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712296" y="4661402"/>
            <a:ext cx="2232984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smtClean="0">
                <a:solidFill>
                  <a:srgbClr val="000000"/>
                </a:solidFill>
                <a:latin typeface="Arial"/>
              </a:rPr>
              <a:t>Printed 11/20/2015 11:18 AM W. Europe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478694" y="2649303"/>
            <a:ext cx="4755582" cy="14619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1614" y="413281"/>
            <a:ext cx="9236802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1612" y="16385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31614" y="5638350"/>
            <a:ext cx="9236802" cy="464862"/>
            <a:chOff x="75" y="3872"/>
            <a:chExt cx="5385" cy="28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2"/>
              <a:ext cx="538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27000" indent="-1270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45"/>
              <a:ext cx="538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740725" indent="-740725" defTabSz="1087940" fontAlgn="base">
                <a:spcBef>
                  <a:spcPct val="0"/>
                </a:spcBef>
                <a:spcAft>
                  <a:spcPct val="0"/>
                </a:spcAft>
                <a:tabLst>
                  <a:tab pos="744583" algn="l"/>
                </a:tabLst>
              </a:pPr>
              <a:r>
                <a:rPr lang="en-US" sz="1200" dirty="0">
                  <a:solidFill>
                    <a:srgbClr val="000000"/>
                  </a:solidFill>
                </a:rPr>
                <a:t>SOURCE: </a:t>
              </a:r>
              <a:r>
                <a:rPr lang="en-US" sz="1200" dirty="0" smtClean="0">
                  <a:solidFill>
                    <a:srgbClr val="000000"/>
                  </a:solidFill>
                </a:rPr>
                <a:t>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478694" y="1914000"/>
            <a:ext cx="4713466" cy="602545"/>
            <a:chOff x="915" y="658"/>
            <a:chExt cx="2686" cy="37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58"/>
              <a:ext cx="2686" cy="37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9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9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pic>
        <p:nvPicPr>
          <p:cNvPr id="22" name="Picture 38" descr="GradientShadow.png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74713"/>
            <a:ext cx="9900843" cy="10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36" descr="GradientShadow.png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38863"/>
            <a:ext cx="9900843" cy="10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2" y="893222"/>
            <a:ext cx="952695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34" name="LegendBoxes" hidden="1"/>
          <p:cNvGrpSpPr>
            <a:grpSpLocks/>
          </p:cNvGrpSpPr>
          <p:nvPr/>
        </p:nvGrpSpPr>
        <p:grpSpPr bwMode="auto">
          <a:xfrm>
            <a:off x="8541192" y="953735"/>
            <a:ext cx="957925" cy="1329268"/>
            <a:chOff x="4936" y="176"/>
            <a:chExt cx="557" cy="628"/>
          </a:xfrm>
        </p:grpSpPr>
        <p:sp>
          <p:nvSpPr>
            <p:cNvPr id="35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6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1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</p:grpSp>
      <p:grpSp>
        <p:nvGrpSpPr>
          <p:cNvPr id="43" name="LegendLines" hidden="1"/>
          <p:cNvGrpSpPr>
            <a:grpSpLocks/>
          </p:cNvGrpSpPr>
          <p:nvPr/>
        </p:nvGrpSpPr>
        <p:grpSpPr bwMode="auto">
          <a:xfrm>
            <a:off x="8207555" y="953735"/>
            <a:ext cx="1291564" cy="973668"/>
            <a:chOff x="4750" y="176"/>
            <a:chExt cx="751" cy="460"/>
          </a:xfrm>
        </p:grpSpPr>
        <p:sp>
          <p:nvSpPr>
            <p:cNvPr id="44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5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6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7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50" name="McKSticker" hidden="1"/>
          <p:cNvGrpSpPr/>
          <p:nvPr/>
        </p:nvGrpSpPr>
        <p:grpSpPr bwMode="auto">
          <a:xfrm>
            <a:off x="7946995" y="953736"/>
            <a:ext cx="1421415" cy="283154"/>
            <a:chOff x="7428698" y="285750"/>
            <a:chExt cx="1312077" cy="212365"/>
          </a:xfrm>
        </p:grpSpPr>
        <p:sp>
          <p:nvSpPr>
            <p:cNvPr id="51" name="StickerRectangle"/>
            <p:cNvSpPr>
              <a:spLocks noChangeArrowheads="1"/>
            </p:cNvSpPr>
            <p:nvPr/>
          </p:nvSpPr>
          <p:spPr bwMode="auto">
            <a:xfrm>
              <a:off x="7428698" y="285750"/>
              <a:ext cx="1312077" cy="21236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36576" tIns="0" rIns="0" bIns="36576">
              <a:spAutoFit/>
            </a:bodyPr>
            <a:lstStyle/>
            <a:p>
              <a:pPr algn="r"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52" name="AutoShape 31"/>
            <p:cNvCxnSpPr>
              <a:cxnSpLocks noChangeShapeType="1"/>
              <a:stCxn id="51" idx="2"/>
              <a:endCxn id="51" idx="4"/>
            </p:cNvCxnSpPr>
            <p:nvPr/>
          </p:nvCxnSpPr>
          <p:spPr bwMode="auto">
            <a:xfrm>
              <a:off x="7428698" y="285750"/>
              <a:ext cx="0" cy="21236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3" name="AutoShape 32"/>
            <p:cNvCxnSpPr>
              <a:cxnSpLocks noChangeShapeType="1"/>
              <a:stCxn id="51" idx="4"/>
              <a:endCxn id="51" idx="6"/>
            </p:cNvCxnSpPr>
            <p:nvPr/>
          </p:nvCxnSpPr>
          <p:spPr bwMode="auto">
            <a:xfrm>
              <a:off x="7428698" y="498115"/>
              <a:ext cx="1312077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4" name="LegendMoons" hidden="1"/>
          <p:cNvGrpSpPr/>
          <p:nvPr/>
        </p:nvGrpSpPr>
        <p:grpSpPr bwMode="auto">
          <a:xfrm>
            <a:off x="8468786" y="953737"/>
            <a:ext cx="1030277" cy="1742021"/>
            <a:chOff x="7769225" y="2105025"/>
            <a:chExt cx="951024" cy="1306516"/>
          </a:xfrm>
        </p:grpSpPr>
        <p:grpSp>
          <p:nvGrpSpPr>
            <p:cNvPr id="55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73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Arc 39" hidden="1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6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71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7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9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8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67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9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0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1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2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3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6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65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5" name="Slide Number"/>
          <p:cNvSpPr txBox="1">
            <a:spLocks/>
          </p:cNvSpPr>
          <p:nvPr/>
        </p:nvSpPr>
        <p:spPr bwMode="auto">
          <a:xfrm>
            <a:off x="131613" y="6493947"/>
            <a:ext cx="187552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200" b="1" smtClean="0">
                <a:solidFill>
                  <a:srgbClr val="FF66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200" b="1" dirty="0">
              <a:solidFill>
                <a:srgbClr val="FF6600"/>
              </a:solidFill>
            </a:endParaRPr>
          </a:p>
        </p:txBody>
      </p:sp>
      <p:grpSp>
        <p:nvGrpSpPr>
          <p:cNvPr id="76" name="Group 75"/>
          <p:cNvGrpSpPr>
            <a:grpSpLocks/>
          </p:cNvGrpSpPr>
          <p:nvPr/>
        </p:nvGrpSpPr>
        <p:grpSpPr bwMode="auto">
          <a:xfrm>
            <a:off x="537586" y="6321425"/>
            <a:ext cx="8830830" cy="357188"/>
            <a:chOff x="930275" y="6321425"/>
            <a:chExt cx="10874375" cy="357188"/>
          </a:xfrm>
        </p:grpSpPr>
        <p:pic>
          <p:nvPicPr>
            <p:cNvPr id="77" name="Picture 32" descr="thinkforward.png"/>
            <p:cNvPicPr>
              <a:picLocks noChangeAspect="1"/>
            </p:cNvPicPr>
            <p:nvPr userDrawn="1"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275" y="6421438"/>
              <a:ext cx="1955800" cy="25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8" name="Picture 33"/>
            <p:cNvPicPr>
              <a:picLocks noChangeAspect="1"/>
            </p:cNvPicPr>
            <p:nvPr userDrawn="1"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66375" y="6321425"/>
              <a:ext cx="1438275" cy="357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519429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  <p:sldLayoutId id="2147483789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087940" rtl="0" eaLnBrk="1" fontAlgn="base" hangingPunct="1">
        <a:spcBef>
          <a:spcPct val="0"/>
        </a:spcBef>
        <a:spcAft>
          <a:spcPct val="0"/>
        </a:spcAft>
        <a:tabLst>
          <a:tab pos="327925" algn="l"/>
        </a:tabLst>
        <a:defRPr sz="2800" b="0" baseline="0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2pPr>
      <a:lvl3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3pPr>
      <a:lvl4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4pPr>
      <a:lvl5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5pPr>
      <a:lvl6pPr marL="555544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6pPr>
      <a:lvl7pPr marL="1111087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7pPr>
      <a:lvl8pPr marL="1666631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8pPr>
      <a:lvl9pPr marL="2222175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235334" indent="-23340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555544" indent="-318281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746512" indent="-189039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•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6pPr>
      <a:lvl7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7pPr>
      <a:lvl8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8pPr>
      <a:lvl9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55544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111087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66631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222175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77719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333262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88806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444350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>
          <a:xfrm>
            <a:off x="563662" y="6230180"/>
            <a:ext cx="9342338" cy="627821"/>
            <a:chOff x="693738" y="6230179"/>
            <a:chExt cx="11498262" cy="627821"/>
          </a:xfrm>
        </p:grpSpPr>
        <p:sp>
          <p:nvSpPr>
            <p:cNvPr id="37" name="Freeform 9"/>
            <p:cNvSpPr>
              <a:spLocks/>
            </p:cNvSpPr>
            <p:nvPr userDrawn="1"/>
          </p:nvSpPr>
          <p:spPr bwMode="auto">
            <a:xfrm>
              <a:off x="693738" y="6432353"/>
              <a:ext cx="10988675" cy="131762"/>
            </a:xfrm>
            <a:custGeom>
              <a:avLst/>
              <a:gdLst>
                <a:gd name="T0" fmla="*/ 2927 w 2927"/>
                <a:gd name="T1" fmla="*/ 0 h 32"/>
                <a:gd name="T2" fmla="*/ 32 w 2927"/>
                <a:gd name="T3" fmla="*/ 0 h 32"/>
                <a:gd name="T4" fmla="*/ 0 w 2927"/>
                <a:gd name="T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27" h="32">
                  <a:moveTo>
                    <a:pt x="292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32"/>
                    <a:pt x="0" y="32"/>
                  </a:cubicBezTo>
                </a:path>
              </a:pathLst>
            </a:custGeom>
            <a:noFill/>
            <a:ln w="3175" cap="flat">
              <a:solidFill>
                <a:srgbClr val="33333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38" name="Rectangle 37"/>
            <p:cNvSpPr/>
            <p:nvPr userDrawn="1"/>
          </p:nvSpPr>
          <p:spPr bwMode="white">
            <a:xfrm>
              <a:off x="10419789" y="6230179"/>
              <a:ext cx="1772211" cy="627821"/>
            </a:xfrm>
            <a:prstGeom prst="rect">
              <a:avLst/>
            </a:prstGeom>
            <a:solidFill>
              <a:srgbClr val="FFFFFF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600" smtClean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687030" y="280734"/>
            <a:ext cx="8522455" cy="8540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87030" y="1278001"/>
            <a:ext cx="8522455" cy="49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81038" y="6498810"/>
            <a:ext cx="402431" cy="18811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grpSp>
        <p:nvGrpSpPr>
          <p:cNvPr id="102" name="Group 101"/>
          <p:cNvGrpSpPr/>
          <p:nvPr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10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11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-1657860" y="6362701"/>
            <a:ext cx="1521000" cy="500063"/>
            <a:chOff x="-2040443" y="6445247"/>
            <a:chExt cx="1872000" cy="417516"/>
          </a:xfrm>
        </p:grpSpPr>
        <p:sp>
          <p:nvSpPr>
            <p:cNvPr id="47" name="Rectangle 104"/>
            <p:cNvSpPr>
              <a:spLocks noChangeArrowheads="1"/>
            </p:cNvSpPr>
            <p:nvPr userDrawn="1"/>
          </p:nvSpPr>
          <p:spPr bwMode="gray">
            <a:xfrm>
              <a:off x="-2040443" y="6445247"/>
              <a:ext cx="1462593" cy="417516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lIns="72000" tIns="180000" rIns="72000" bIns="18000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defRPr/>
              </a:pPr>
              <a:r>
                <a:rPr lang="en-GB" altLang="en-US" sz="1200" b="1" kern="0" dirty="0" smtClean="0">
                  <a:solidFill>
                    <a:srgbClr val="FDFDFD"/>
                  </a:solidFill>
                </a:rPr>
                <a:t>No content below </a:t>
              </a:r>
              <a:br>
                <a:rPr lang="en-GB" altLang="en-US" sz="1200" b="1" kern="0" dirty="0" smtClean="0">
                  <a:solidFill>
                    <a:srgbClr val="FDFDFD"/>
                  </a:solidFill>
                </a:rPr>
              </a:br>
              <a:r>
                <a:rPr lang="en-GB" altLang="en-US" sz="1200" b="1" kern="0" dirty="0" smtClean="0">
                  <a:solidFill>
                    <a:srgbClr val="FDFDFD"/>
                  </a:solidFill>
                </a:rPr>
                <a:t>the grey line</a:t>
              </a:r>
              <a:endParaRPr lang="en-GB" altLang="en-US" sz="1200" b="1" kern="0" dirty="0">
                <a:solidFill>
                  <a:srgbClr val="FDFDFD"/>
                </a:solidFill>
              </a:endParaRPr>
            </a:p>
          </p:txBody>
        </p:sp>
        <p:grpSp>
          <p:nvGrpSpPr>
            <p:cNvPr id="48" name="Group 47"/>
            <p:cNvGrpSpPr/>
            <p:nvPr userDrawn="1"/>
          </p:nvGrpSpPr>
          <p:grpSpPr bwMode="gray">
            <a:xfrm>
              <a:off x="-546100" y="6452392"/>
              <a:ext cx="377657" cy="403227"/>
              <a:chOff x="-2035174" y="6454773"/>
              <a:chExt cx="1872000" cy="403227"/>
            </a:xfrm>
          </p:grpSpPr>
          <p:cxnSp>
            <p:nvCxnSpPr>
              <p:cNvPr id="49" name="Straight Connector 48"/>
              <p:cNvCxnSpPr/>
              <p:nvPr userDrawn="1"/>
            </p:nvCxnSpPr>
            <p:spPr bwMode="gray">
              <a:xfrm>
                <a:off x="-2035174" y="6858000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  <p:cxnSp>
            <p:nvCxnSpPr>
              <p:cNvPr id="50" name="Straight Connector 49"/>
              <p:cNvCxnSpPr/>
              <p:nvPr userDrawn="1"/>
            </p:nvCxnSpPr>
            <p:spPr bwMode="gray">
              <a:xfrm>
                <a:off x="-2035174" y="6454773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</p:grpSp>
      </p:grpSp>
      <p:pic>
        <p:nvPicPr>
          <p:cNvPr id="35" name="Picture 34"/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0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062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  <p:sldLayoutId id="2147483798" r:id="rId8"/>
    <p:sldLayoutId id="2147483799" r:id="rId9"/>
    <p:sldLayoutId id="2147483800" r:id="rId10"/>
    <p:sldLayoutId id="2147483801" r:id="rId11"/>
    <p:sldLayoutId id="2147483802" r:id="rId12"/>
    <p:sldLayoutId id="2147483803" r:id="rId13"/>
    <p:sldLayoutId id="2147483804" r:id="rId14"/>
    <p:sldLayoutId id="2147483805" r:id="rId15"/>
    <p:sldLayoutId id="2147483806" r:id="rId16"/>
    <p:sldLayoutId id="2147483807" r:id="rId17"/>
    <p:sldLayoutId id="2147483808" r:id="rId18"/>
    <p:sldLayoutId id="2147483809" r:id="rId19"/>
    <p:sldLayoutId id="2147483810" r:id="rId20"/>
    <p:sldLayoutId id="2147483811" r:id="rId21"/>
    <p:sldLayoutId id="2147483812" r:id="rId22"/>
    <p:sldLayoutId id="2147483813" r:id="rId23"/>
    <p:sldLayoutId id="2147483814" r:id="rId24"/>
    <p:sldLayoutId id="2147483815" r:id="rId25"/>
    <p:sldLayoutId id="2147483816" r:id="rId26"/>
    <p:sldLayoutId id="2147483817" r:id="rId27"/>
    <p:sldLayoutId id="2147483818" r:id="rId28"/>
    <p:sldLayoutId id="2147483819" r:id="rId29"/>
    <p:sldLayoutId id="2147483820" r:id="rId30"/>
    <p:sldLayoutId id="2147483821" r:id="rId31"/>
    <p:sldLayoutId id="2147483822" r:id="rId32"/>
    <p:sldLayoutId id="2147483823" r:id="rId33"/>
    <p:sldLayoutId id="2147483824" r:id="rId34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ts val="2800"/>
        </a:lnSpc>
        <a:spcBef>
          <a:spcPct val="0"/>
        </a:spcBef>
        <a:buNone/>
        <a:defRPr sz="2800" b="1" kern="1200" baseline="0">
          <a:solidFill>
            <a:schemeClr val="tx2"/>
          </a:solidFill>
          <a:latin typeface="+mj-lt"/>
          <a:ea typeface="+mj-ea"/>
          <a:cs typeface="ING Me" pitchFamily="2" charset="0"/>
        </a:defRPr>
      </a:lvl1pPr>
    </p:titleStyle>
    <p:bodyStyle>
      <a:lvl1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b="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1pPr>
      <a:lvl2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2pPr>
      <a:lvl3pPr marL="266700" indent="-26670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tx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3pPr>
      <a:lvl4pPr marL="512763" indent="-26035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bg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4pPr>
      <a:lvl5pPr marL="762000" indent="-252413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accent3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3" orient="horz" pos="721" userDrawn="1">
          <p15:clr>
            <a:srgbClr val="F26B43"/>
          </p15:clr>
        </p15:guide>
        <p15:guide id="6" pos="7140" userDrawn="1">
          <p15:clr>
            <a:srgbClr val="F26B43"/>
          </p15:clr>
        </p15:guide>
        <p15:guide id="8" pos="528" userDrawn="1">
          <p15:clr>
            <a:srgbClr val="F26B43"/>
          </p15:clr>
        </p15:guide>
        <p15:guide id="9" orient="horz" pos="173" userDrawn="1">
          <p15:clr>
            <a:srgbClr val="F26B43"/>
          </p15:clr>
        </p15:guide>
        <p15:guide id="10" orient="horz" pos="4008" userDrawn="1">
          <p15:clr>
            <a:srgbClr val="F26B43"/>
          </p15:clr>
        </p15:guide>
        <p15:guide id="11" orient="horz" pos="3906" userDrawn="1">
          <p15:clr>
            <a:srgbClr val="F26B43"/>
          </p15:clr>
        </p15:guide>
        <p15:guide id="12" orient="horz" pos="800" userDrawn="1">
          <p15:clr>
            <a:srgbClr val="F26B43"/>
          </p15:clr>
        </p15:guide>
        <p15:guide id="13" pos="7491" userDrawn="1">
          <p15:clr>
            <a:srgbClr val="F26B43"/>
          </p15:clr>
        </p15:guide>
        <p15:guide id="14" pos="437" userDrawn="1">
          <p15:clr>
            <a:srgbClr val="F26B43"/>
          </p15:clr>
        </p15:guide>
        <p15:guide id="15" pos="3834" userDrawn="1">
          <p15:clr>
            <a:srgbClr val="F26B43"/>
          </p15:clr>
        </p15:guide>
        <p15:guide id="16" orient="horz" pos="2358" userDrawn="1">
          <p15:clr>
            <a:srgbClr val="F26B43"/>
          </p15:clr>
        </p15:guide>
        <p15:guide id="17" pos="739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http://threejs.org/docs/index.html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threejs.org/examples/#webgl_postprocessing_dof2" TargetMode="External"/><Relationship Id="rId2" Type="http://schemas.openxmlformats.org/officeDocument/2006/relationships/hyperlink" Target="http://threejs.org/examples/#webgl_animation_cloth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http://threejs.org/examples/#webgl_materials_cubemap_balls_reflection" TargetMode="External"/><Relationship Id="rId4" Type="http://schemas.openxmlformats.org/officeDocument/2006/relationships/hyperlink" Target="http://threejs.org/examples/#webgl_materials_video" TargetMode="Externa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err="1" smtClean="0"/>
              <a:t>WebGL</a:t>
            </a:r>
            <a:r>
              <a:rPr lang="en-GB" dirty="0" smtClean="0"/>
              <a:t>: </a:t>
            </a:r>
            <a:r>
              <a:rPr lang="en-GB" dirty="0" err="1" smtClean="0"/>
              <a:t>Introducti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altLang="en-US" dirty="0" smtClean="0">
                <a:solidFill>
                  <a:schemeClr val="tx2"/>
                </a:solidFill>
              </a:rPr>
              <a:t>Jesse Brand, Hans Borst, Merlin Weemaes</a:t>
            </a:r>
            <a:endParaRPr lang="en-GB" altLang="en-US" dirty="0">
              <a:solidFill>
                <a:schemeClr val="tx2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 err="1" smtClean="0"/>
              <a:t>Sessie</a:t>
            </a:r>
            <a:r>
              <a:rPr lang="en-GB" dirty="0" smtClean="0"/>
              <a:t> 2 – Three JS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 smtClean="0"/>
              <a:t>30/5/2016</a:t>
            </a:r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753269" y="5538795"/>
            <a:ext cx="7315994" cy="892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954088"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1pPr>
            <a:lvl2pPr marL="742950" indent="-285750" defTabSz="954088"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2pPr>
            <a:lvl3pPr marL="1143000" indent="-228600" defTabSz="954088"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3pPr>
            <a:lvl4pPr marL="1600200" indent="-228600" defTabSz="954088"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4pPr>
            <a:lvl5pPr marL="2057400" indent="-228600" defTabSz="954088"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5pPr>
            <a:lvl6pPr marL="2514600" indent="-228600" algn="ctr" defTabSz="954088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6pPr>
            <a:lvl7pPr marL="2971800" indent="-228600" algn="ctr" defTabSz="954088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7pPr>
            <a:lvl8pPr marL="3429000" indent="-228600" algn="ctr" defTabSz="954088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8pPr>
            <a:lvl9pPr marL="3886200" indent="-228600" algn="ctr" defTabSz="954088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9pPr>
          </a:lstStyle>
          <a:p>
            <a:pPr algn="l" eaLnBrk="1" hangingPunct="1">
              <a:lnSpc>
                <a:spcPct val="100000"/>
              </a:lnSpc>
              <a:spcBef>
                <a:spcPct val="0"/>
              </a:spcBef>
            </a:pPr>
            <a:r>
              <a:rPr lang="en-GB" altLang="en-US" sz="5400" dirty="0" smtClean="0">
                <a:solidFill>
                  <a:schemeClr val="accent1"/>
                </a:solidFill>
                <a:latin typeface="+mj-lt"/>
              </a:rPr>
              <a:t>Chapter Full Stack 6</a:t>
            </a:r>
            <a:endParaRPr lang="en-GB" altLang="en-US" sz="4400" i="1" dirty="0">
              <a:solidFill>
                <a:schemeClr val="accent1"/>
              </a:solidFill>
              <a:latin typeface="+mj-lt"/>
            </a:endParaRPr>
          </a:p>
          <a:p>
            <a:pPr algn="l" eaLnBrk="1" hangingPunct="1">
              <a:lnSpc>
                <a:spcPct val="100000"/>
              </a:lnSpc>
              <a:spcBef>
                <a:spcPct val="0"/>
              </a:spcBef>
            </a:pPr>
            <a:r>
              <a:rPr lang="en-GB" altLang="en-US" sz="4400" b="0" i="1" dirty="0">
                <a:solidFill>
                  <a:schemeClr val="accent1"/>
                </a:solidFill>
                <a:latin typeface="Rockwell ING" pitchFamily="18" charset="0"/>
              </a:rPr>
              <a:t>		</a:t>
            </a:r>
            <a:endParaRPr lang="en-GB" altLang="en-US" sz="4400" b="0" i="1" dirty="0">
              <a:latin typeface="Rockwell ING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0281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sz="1600" dirty="0" smtClean="0"/>
              <a:t>// </a:t>
            </a:r>
            <a:r>
              <a:rPr lang="nl-NL" sz="1600" dirty="0"/>
              <a:t>set </a:t>
            </a:r>
            <a:r>
              <a:rPr lang="nl-NL" sz="1600" dirty="0" err="1"/>
              <a:t>shadow</a:t>
            </a:r>
            <a:r>
              <a:rPr lang="nl-NL" sz="1600" dirty="0"/>
              <a:t> on </a:t>
            </a:r>
            <a:r>
              <a:rPr lang="nl-NL" sz="1600" dirty="0" err="1"/>
              <a:t>renderer</a:t>
            </a:r>
            <a:endParaRPr lang="nl-NL" sz="1600" dirty="0"/>
          </a:p>
          <a:p>
            <a:r>
              <a:rPr lang="nl-NL" sz="1600" dirty="0" err="1" smtClean="0"/>
              <a:t>renderer.shadowMap.enabled</a:t>
            </a:r>
            <a:r>
              <a:rPr lang="nl-NL" sz="1600" dirty="0" smtClean="0"/>
              <a:t> </a:t>
            </a:r>
            <a:r>
              <a:rPr lang="nl-NL" sz="1600" dirty="0"/>
              <a:t>= </a:t>
            </a:r>
            <a:r>
              <a:rPr lang="nl-NL" sz="1600" dirty="0" err="1"/>
              <a:t>true</a:t>
            </a:r>
            <a:r>
              <a:rPr lang="nl-NL" sz="1600" dirty="0"/>
              <a:t>; </a:t>
            </a:r>
          </a:p>
          <a:p>
            <a:r>
              <a:rPr lang="nl-NL" sz="1600" dirty="0" err="1" smtClean="0"/>
              <a:t>renderer.shadowMap.type</a:t>
            </a:r>
            <a:r>
              <a:rPr lang="nl-NL" sz="1600" dirty="0" smtClean="0"/>
              <a:t> </a:t>
            </a:r>
            <a:r>
              <a:rPr lang="nl-NL" sz="1600" dirty="0"/>
              <a:t>= </a:t>
            </a:r>
            <a:r>
              <a:rPr lang="nl-NL" sz="1600" dirty="0" err="1"/>
              <a:t>THREE.PCFSoftShadowMap</a:t>
            </a:r>
            <a:r>
              <a:rPr lang="nl-NL" sz="1600" dirty="0"/>
              <a:t>; </a:t>
            </a:r>
          </a:p>
          <a:p>
            <a:r>
              <a:rPr lang="nl-NL" sz="1600" dirty="0" err="1" smtClean="0"/>
              <a:t>renderer.gammaInput</a:t>
            </a:r>
            <a:r>
              <a:rPr lang="nl-NL" sz="1600" dirty="0" smtClean="0"/>
              <a:t> </a:t>
            </a:r>
            <a:r>
              <a:rPr lang="nl-NL" sz="1600" dirty="0"/>
              <a:t>= </a:t>
            </a:r>
            <a:r>
              <a:rPr lang="nl-NL" sz="1600" dirty="0" err="1"/>
              <a:t>true</a:t>
            </a:r>
            <a:r>
              <a:rPr lang="nl-NL" sz="1600" dirty="0"/>
              <a:t>; </a:t>
            </a:r>
          </a:p>
          <a:p>
            <a:r>
              <a:rPr lang="nl-NL" sz="1600" dirty="0" err="1" smtClean="0"/>
              <a:t>renderer.gammaOutput</a:t>
            </a:r>
            <a:r>
              <a:rPr lang="nl-NL" sz="1600" dirty="0" smtClean="0"/>
              <a:t> </a:t>
            </a:r>
            <a:r>
              <a:rPr lang="nl-NL" sz="1600" dirty="0"/>
              <a:t>= </a:t>
            </a:r>
            <a:r>
              <a:rPr lang="nl-NL" sz="1600" dirty="0" err="1"/>
              <a:t>true</a:t>
            </a:r>
            <a:r>
              <a:rPr lang="nl-NL" sz="1600" dirty="0"/>
              <a:t>; </a:t>
            </a:r>
          </a:p>
          <a:p>
            <a:endParaRPr lang="nl-NL" sz="1600" dirty="0" smtClean="0"/>
          </a:p>
          <a:p>
            <a:r>
              <a:rPr lang="nl-NL" sz="1600" dirty="0" smtClean="0"/>
              <a:t>// </a:t>
            </a:r>
            <a:r>
              <a:rPr lang="nl-NL" sz="1600" dirty="0"/>
              <a:t>set </a:t>
            </a:r>
            <a:r>
              <a:rPr lang="nl-NL" sz="1600" dirty="0" err="1"/>
              <a:t>shadow</a:t>
            </a:r>
            <a:r>
              <a:rPr lang="nl-NL" sz="1600" dirty="0"/>
              <a:t> on </a:t>
            </a:r>
            <a:r>
              <a:rPr lang="nl-NL" sz="1600" dirty="0" err="1"/>
              <a:t>cube</a:t>
            </a:r>
            <a:endParaRPr lang="nl-NL" sz="1600" dirty="0"/>
          </a:p>
          <a:p>
            <a:r>
              <a:rPr lang="nl-NL" sz="1600" dirty="0" err="1" smtClean="0"/>
              <a:t>cube.receiveShadow</a:t>
            </a:r>
            <a:r>
              <a:rPr lang="nl-NL" sz="1600" dirty="0" smtClean="0"/>
              <a:t> </a:t>
            </a:r>
            <a:r>
              <a:rPr lang="nl-NL" sz="1600" dirty="0"/>
              <a:t>= </a:t>
            </a:r>
            <a:r>
              <a:rPr lang="nl-NL" sz="1600" dirty="0" err="1"/>
              <a:t>true</a:t>
            </a:r>
            <a:r>
              <a:rPr lang="nl-NL" sz="1600" dirty="0"/>
              <a:t>;</a:t>
            </a:r>
          </a:p>
          <a:p>
            <a:r>
              <a:rPr lang="nl-NL" sz="1600" dirty="0" err="1" smtClean="0"/>
              <a:t>cube.castShadow</a:t>
            </a:r>
            <a:r>
              <a:rPr lang="nl-NL" sz="1600" dirty="0" smtClean="0"/>
              <a:t> </a:t>
            </a:r>
            <a:r>
              <a:rPr lang="nl-NL" sz="1600" dirty="0"/>
              <a:t>= </a:t>
            </a:r>
            <a:r>
              <a:rPr lang="nl-NL" sz="1600" dirty="0" err="1"/>
              <a:t>true</a:t>
            </a:r>
            <a:r>
              <a:rPr lang="nl-NL" sz="1600" dirty="0"/>
              <a:t>;</a:t>
            </a:r>
          </a:p>
          <a:p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Step 4: </a:t>
            </a:r>
            <a:r>
              <a:rPr lang="nl-NL" dirty="0" err="1" smtClean="0"/>
              <a:t>lighting</a:t>
            </a:r>
            <a:r>
              <a:rPr lang="nl-NL" dirty="0" smtClean="0"/>
              <a:t>: spotlight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0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8372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err="1"/>
              <a:t>function</a:t>
            </a:r>
            <a:r>
              <a:rPr lang="nl-NL" dirty="0"/>
              <a:t> </a:t>
            </a:r>
            <a:r>
              <a:rPr lang="nl-NL" dirty="0" err="1"/>
              <a:t>render</a:t>
            </a:r>
            <a:r>
              <a:rPr lang="nl-NL" dirty="0"/>
              <a:t>() {</a:t>
            </a:r>
          </a:p>
          <a:p>
            <a:r>
              <a:rPr lang="nl-NL" dirty="0"/>
              <a:t>	</a:t>
            </a:r>
            <a:r>
              <a:rPr lang="nl-NL" dirty="0" err="1">
                <a:solidFill>
                  <a:schemeClr val="bg2">
                    <a:lumMod val="40000"/>
                    <a:lumOff val="60000"/>
                  </a:schemeClr>
                </a:solidFill>
              </a:rPr>
              <a:t>requestAnimationFrame</a:t>
            </a:r>
            <a:r>
              <a:rPr lang="nl-NL" dirty="0">
                <a:solidFill>
                  <a:schemeClr val="bg2">
                    <a:lumMod val="40000"/>
                    <a:lumOff val="60000"/>
                  </a:schemeClr>
                </a:solidFill>
              </a:rPr>
              <a:t>( </a:t>
            </a:r>
            <a:r>
              <a:rPr lang="nl-NL" dirty="0" err="1">
                <a:solidFill>
                  <a:schemeClr val="bg2">
                    <a:lumMod val="40000"/>
                    <a:lumOff val="60000"/>
                  </a:schemeClr>
                </a:solidFill>
              </a:rPr>
              <a:t>render</a:t>
            </a:r>
            <a:r>
              <a:rPr lang="nl-NL" dirty="0">
                <a:solidFill>
                  <a:schemeClr val="bg2">
                    <a:lumMod val="40000"/>
                    <a:lumOff val="60000"/>
                  </a:schemeClr>
                </a:solidFill>
              </a:rPr>
              <a:t> );</a:t>
            </a:r>
          </a:p>
          <a:p>
            <a:r>
              <a:rPr lang="nl-NL" dirty="0">
                <a:solidFill>
                  <a:schemeClr val="bg2">
                    <a:lumMod val="40000"/>
                    <a:lumOff val="60000"/>
                  </a:schemeClr>
                </a:solidFill>
              </a:rPr>
              <a:t>	</a:t>
            </a:r>
            <a:r>
              <a:rPr lang="nl-NL" dirty="0" err="1">
                <a:solidFill>
                  <a:schemeClr val="bg2">
                    <a:lumMod val="40000"/>
                    <a:lumOff val="60000"/>
                  </a:schemeClr>
                </a:solidFill>
              </a:rPr>
              <a:t>cube.rotation.x</a:t>
            </a:r>
            <a:r>
              <a:rPr lang="nl-NL" dirty="0">
                <a:solidFill>
                  <a:schemeClr val="bg2">
                    <a:lumMod val="40000"/>
                    <a:lumOff val="60000"/>
                  </a:schemeClr>
                </a:solidFill>
              </a:rPr>
              <a:t> += 0.01;</a:t>
            </a:r>
          </a:p>
          <a:p>
            <a:r>
              <a:rPr lang="nl-NL" dirty="0">
                <a:solidFill>
                  <a:schemeClr val="bg2">
                    <a:lumMod val="40000"/>
                    <a:lumOff val="60000"/>
                  </a:schemeClr>
                </a:solidFill>
              </a:rPr>
              <a:t>	</a:t>
            </a:r>
            <a:r>
              <a:rPr lang="nl-NL" dirty="0" err="1">
                <a:solidFill>
                  <a:schemeClr val="bg2">
                    <a:lumMod val="40000"/>
                    <a:lumOff val="60000"/>
                  </a:schemeClr>
                </a:solidFill>
              </a:rPr>
              <a:t>cube.rotation.y</a:t>
            </a:r>
            <a:r>
              <a:rPr lang="nl-NL" dirty="0">
                <a:solidFill>
                  <a:schemeClr val="bg2">
                    <a:lumMod val="40000"/>
                    <a:lumOff val="60000"/>
                  </a:schemeClr>
                </a:solidFill>
              </a:rPr>
              <a:t> += 0.01;</a:t>
            </a:r>
          </a:p>
          <a:p>
            <a:r>
              <a:rPr lang="nl-NL" dirty="0"/>
              <a:t>	</a:t>
            </a:r>
            <a:r>
              <a:rPr lang="nl-NL" dirty="0" err="1"/>
              <a:t>camera.position.z</a:t>
            </a:r>
            <a:r>
              <a:rPr lang="nl-NL" dirty="0"/>
              <a:t> -= 0.01;</a:t>
            </a:r>
          </a:p>
          <a:p>
            <a:r>
              <a:rPr lang="nl-NL" dirty="0"/>
              <a:t>	</a:t>
            </a:r>
            <a:r>
              <a:rPr lang="nl-NL" dirty="0" err="1"/>
              <a:t>camera.position.x</a:t>
            </a:r>
            <a:r>
              <a:rPr lang="nl-NL" dirty="0"/>
              <a:t> -= 0.02;</a:t>
            </a:r>
          </a:p>
          <a:p>
            <a:r>
              <a:rPr lang="nl-NL" dirty="0"/>
              <a:t>	</a:t>
            </a:r>
            <a:r>
              <a:rPr lang="nl-NL" dirty="0" err="1">
                <a:solidFill>
                  <a:schemeClr val="bg2">
                    <a:lumMod val="40000"/>
                    <a:lumOff val="60000"/>
                  </a:schemeClr>
                </a:solidFill>
              </a:rPr>
              <a:t>renderer.render</a:t>
            </a:r>
            <a:r>
              <a:rPr lang="nl-NL" dirty="0">
                <a:solidFill>
                  <a:schemeClr val="bg2">
                    <a:lumMod val="40000"/>
                    <a:lumOff val="60000"/>
                  </a:schemeClr>
                </a:solidFill>
              </a:rPr>
              <a:t>( scene, camera );</a:t>
            </a:r>
          </a:p>
          <a:p>
            <a:r>
              <a:rPr lang="nl-NL" dirty="0"/>
              <a:t>}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Step 5: </a:t>
            </a:r>
            <a:r>
              <a:rPr lang="nl-NL" dirty="0" err="1" smtClean="0"/>
              <a:t>moving</a:t>
            </a:r>
            <a:r>
              <a:rPr lang="nl-NL" dirty="0" smtClean="0"/>
              <a:t> the camera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1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63100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94651" y="1415547"/>
            <a:ext cx="8522455" cy="4922391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 dirty="0" smtClean="0"/>
              <a:t>Create a scene and a renderer</a:t>
            </a:r>
            <a:br>
              <a:rPr lang="en-US" dirty="0" smtClean="0"/>
            </a:br>
            <a:endParaRPr lang="en-US" dirty="0" smtClean="0"/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Make the needed objects for the vehicle.</a:t>
            </a:r>
            <a:br>
              <a:rPr lang="en-US" dirty="0" smtClean="0"/>
            </a:br>
            <a:r>
              <a:rPr lang="en-US" sz="1600" dirty="0" smtClean="0"/>
              <a:t>For example a few rectangles for the body and </a:t>
            </a:r>
            <a:r>
              <a:rPr lang="en-US" sz="1600" dirty="0" err="1" smtClean="0"/>
              <a:t>circels</a:t>
            </a:r>
            <a:r>
              <a:rPr lang="en-US" sz="1600" dirty="0" smtClean="0"/>
              <a:t> for the wheels</a:t>
            </a:r>
            <a:br>
              <a:rPr lang="en-US" sz="1600" dirty="0" smtClean="0"/>
            </a:br>
            <a:endParaRPr lang="en-US" sz="1600" dirty="0" smtClean="0"/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Add some textures to the car</a:t>
            </a:r>
            <a:br>
              <a:rPr lang="en-US" dirty="0" smtClean="0"/>
            </a:br>
            <a:endParaRPr lang="en-US" sz="2800" dirty="0" smtClean="0"/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Let the wheels spin</a:t>
            </a:r>
            <a:br>
              <a:rPr lang="en-US" dirty="0" smtClean="0"/>
            </a:br>
            <a:endParaRPr lang="en-US" dirty="0" smtClean="0"/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Let the car ride</a:t>
            </a:r>
            <a:br>
              <a:rPr lang="en-US" dirty="0" smtClean="0"/>
            </a:br>
            <a:endParaRPr lang="en-US" dirty="0" smtClean="0"/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Add some lights</a:t>
            </a:r>
          </a:p>
          <a:p>
            <a:pPr marL="457200" indent="-457200">
              <a:buFont typeface="+mj-lt"/>
              <a:buAutoNum type="arabicPeriod"/>
            </a:pPr>
            <a:endParaRPr lang="en-US" dirty="0" smtClean="0"/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Go wild, add some more cameras, objects lights in the vehicle, and everything you ever dreamed of</a:t>
            </a:r>
            <a:endParaRPr lang="en-US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ssignment: Make a moving vehic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8577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smtClean="0"/>
              <a:t>…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Next time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3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046224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>
                <a:hlinkClick r:id="rId2"/>
              </a:rPr>
              <a:t>http://</a:t>
            </a:r>
            <a:r>
              <a:rPr lang="nl-NL" dirty="0" smtClean="0">
                <a:hlinkClick r:id="rId2"/>
              </a:rPr>
              <a:t>threejs.org/docs/index.html</a:t>
            </a:r>
            <a:r>
              <a:rPr lang="nl-NL" dirty="0" smtClean="0"/>
              <a:t> </a:t>
            </a:r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Resources &amp; </a:t>
            </a:r>
            <a:r>
              <a:rPr lang="nl-NL" dirty="0" err="1" smtClean="0"/>
              <a:t>Tutorial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4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16565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smtClean="0"/>
              <a:t>Wat is </a:t>
            </a:r>
            <a:r>
              <a:rPr lang="nl-NL" dirty="0" err="1" smtClean="0"/>
              <a:t>three</a:t>
            </a:r>
            <a:r>
              <a:rPr lang="nl-NL" dirty="0" smtClean="0"/>
              <a:t> </a:t>
            </a:r>
            <a:r>
              <a:rPr lang="nl-NL" dirty="0" err="1" smtClean="0"/>
              <a:t>js</a:t>
            </a:r>
            <a:r>
              <a:rPr lang="nl-NL" dirty="0" smtClean="0"/>
              <a:t>..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hree J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1336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b="1" dirty="0" err="1" smtClean="0">
                <a:solidFill>
                  <a:schemeClr val="accent4"/>
                </a:solidFill>
              </a:rPr>
              <a:t>Examples</a:t>
            </a:r>
            <a:endParaRPr lang="nl-NL" b="1" dirty="0">
              <a:solidFill>
                <a:schemeClr val="accent4"/>
              </a:solidFill>
            </a:endParaRPr>
          </a:p>
          <a:p>
            <a:r>
              <a:rPr lang="nl-NL" dirty="0" smtClean="0">
                <a:hlinkClick r:id="rId2"/>
              </a:rPr>
              <a:t>http</a:t>
            </a:r>
            <a:r>
              <a:rPr lang="nl-NL" dirty="0">
                <a:hlinkClick r:id="rId2"/>
              </a:rPr>
              <a:t>://threejs.org/examples/#</a:t>
            </a:r>
            <a:r>
              <a:rPr lang="nl-NL" dirty="0" smtClean="0">
                <a:hlinkClick r:id="rId2"/>
              </a:rPr>
              <a:t>webgl_loader_collada_keyframe</a:t>
            </a:r>
          </a:p>
          <a:p>
            <a:r>
              <a:rPr lang="nl-NL" dirty="0" smtClean="0">
                <a:hlinkClick r:id="rId2"/>
              </a:rPr>
              <a:t>http</a:t>
            </a:r>
            <a:r>
              <a:rPr lang="nl-NL" dirty="0">
                <a:hlinkClick r:id="rId2"/>
              </a:rPr>
              <a:t>://threejs.org/examples/#</a:t>
            </a:r>
            <a:r>
              <a:rPr lang="nl-NL" dirty="0" smtClean="0">
                <a:hlinkClick r:id="rId2"/>
              </a:rPr>
              <a:t>webgl_animation_cloth</a:t>
            </a:r>
            <a:endParaRPr lang="nl-NL" dirty="0" smtClean="0"/>
          </a:p>
          <a:p>
            <a:r>
              <a:rPr lang="nl-NL" dirty="0">
                <a:hlinkClick r:id="rId3"/>
              </a:rPr>
              <a:t>http://threejs.org/examples/#</a:t>
            </a:r>
            <a:r>
              <a:rPr lang="nl-NL" dirty="0" smtClean="0">
                <a:hlinkClick r:id="rId3"/>
              </a:rPr>
              <a:t>webgl_postprocessing_dof2</a:t>
            </a:r>
            <a:endParaRPr lang="nl-NL" dirty="0" smtClean="0"/>
          </a:p>
          <a:p>
            <a:r>
              <a:rPr lang="nl-NL" dirty="0">
                <a:hlinkClick r:id="rId4"/>
              </a:rPr>
              <a:t>http://threejs.org/examples/#</a:t>
            </a:r>
            <a:r>
              <a:rPr lang="nl-NL" dirty="0" smtClean="0">
                <a:hlinkClick r:id="rId4"/>
              </a:rPr>
              <a:t>webgl_materials_video</a:t>
            </a:r>
            <a:endParaRPr lang="nl-NL" dirty="0" smtClean="0"/>
          </a:p>
          <a:p>
            <a:r>
              <a:rPr lang="nl-NL" dirty="0">
                <a:hlinkClick r:id="rId5"/>
              </a:rPr>
              <a:t>http://threejs.org/examples/#</a:t>
            </a:r>
            <a:r>
              <a:rPr lang="nl-NL" dirty="0" smtClean="0">
                <a:hlinkClick r:id="rId5"/>
              </a:rPr>
              <a:t>webgl_materials_cubemap_balls_reflection</a:t>
            </a:r>
            <a:endParaRPr lang="nl-NL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Exampl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3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6524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smtClean="0"/>
              <a:t>var </a:t>
            </a:r>
            <a:r>
              <a:rPr lang="nl-NL" dirty="0" err="1" smtClean="0"/>
              <a:t>width</a:t>
            </a:r>
            <a:r>
              <a:rPr lang="nl-NL" dirty="0"/>
              <a:t> = </a:t>
            </a:r>
            <a:r>
              <a:rPr lang="nl-NL" dirty="0" err="1" smtClean="0"/>
              <a:t>window.innerWidth</a:t>
            </a:r>
            <a:r>
              <a:rPr lang="nl-NL" dirty="0" smtClean="0"/>
              <a:t>;</a:t>
            </a:r>
          </a:p>
          <a:p>
            <a:r>
              <a:rPr lang="nl-NL" dirty="0"/>
              <a:t>v</a:t>
            </a:r>
            <a:r>
              <a:rPr lang="nl-NL" dirty="0" smtClean="0"/>
              <a:t>ar </a:t>
            </a:r>
            <a:r>
              <a:rPr lang="nl-NL" dirty="0" err="1" smtClean="0"/>
              <a:t>height</a:t>
            </a:r>
            <a:r>
              <a:rPr lang="nl-NL" dirty="0"/>
              <a:t> = </a:t>
            </a:r>
            <a:r>
              <a:rPr lang="nl-NL" dirty="0" err="1" smtClean="0"/>
              <a:t>window.innerHeight</a:t>
            </a:r>
            <a:r>
              <a:rPr lang="nl-NL" dirty="0" smtClean="0"/>
              <a:t>;</a:t>
            </a:r>
            <a:endParaRPr lang="nl-NL" dirty="0"/>
          </a:p>
          <a:p>
            <a:r>
              <a:rPr lang="nl-NL" dirty="0" smtClean="0"/>
              <a:t>var </a:t>
            </a:r>
            <a:r>
              <a:rPr lang="nl-NL" dirty="0"/>
              <a:t>scene = new </a:t>
            </a:r>
            <a:r>
              <a:rPr lang="nl-NL" dirty="0" err="1"/>
              <a:t>THREE.Scene</a:t>
            </a:r>
            <a:r>
              <a:rPr lang="nl-NL" dirty="0"/>
              <a:t>();</a:t>
            </a:r>
          </a:p>
          <a:p>
            <a:r>
              <a:rPr lang="nl-NL" dirty="0" smtClean="0"/>
              <a:t>var camera = new </a:t>
            </a:r>
            <a:r>
              <a:rPr lang="nl-NL" dirty="0" err="1"/>
              <a:t>THREE.PerspectiveCamera</a:t>
            </a:r>
            <a:r>
              <a:rPr lang="nl-NL" dirty="0" smtClean="0"/>
              <a:t>( 75, </a:t>
            </a:r>
            <a:r>
              <a:rPr lang="nl-NL" dirty="0" err="1" smtClean="0"/>
              <a:t>width</a:t>
            </a:r>
            <a:r>
              <a:rPr lang="nl-NL" dirty="0" smtClean="0"/>
              <a:t>/</a:t>
            </a:r>
            <a:r>
              <a:rPr lang="nl-NL" dirty="0" err="1" smtClean="0"/>
              <a:t>height</a:t>
            </a:r>
            <a:r>
              <a:rPr lang="nl-NL" dirty="0" smtClean="0"/>
              <a:t>, 1, 1000 );</a:t>
            </a:r>
          </a:p>
          <a:p>
            <a:endParaRPr lang="nl-NL" dirty="0"/>
          </a:p>
          <a:p>
            <a:r>
              <a:rPr lang="nl-NL" dirty="0"/>
              <a:t>var </a:t>
            </a:r>
            <a:r>
              <a:rPr lang="nl-NL" dirty="0" err="1"/>
              <a:t>renderer</a:t>
            </a:r>
            <a:r>
              <a:rPr lang="nl-NL" dirty="0"/>
              <a:t> = new </a:t>
            </a:r>
            <a:r>
              <a:rPr lang="nl-NL" dirty="0" err="1"/>
              <a:t>THREE.WebGLRenderer</a:t>
            </a:r>
            <a:r>
              <a:rPr lang="nl-NL" dirty="0"/>
              <a:t>();</a:t>
            </a:r>
          </a:p>
          <a:p>
            <a:r>
              <a:rPr lang="nl-NL" dirty="0" err="1"/>
              <a:t>renderer.setSize</a:t>
            </a:r>
            <a:r>
              <a:rPr lang="nl-NL" dirty="0"/>
              <a:t>( </a:t>
            </a:r>
            <a:r>
              <a:rPr lang="nl-NL" dirty="0" err="1" smtClean="0"/>
              <a:t>width</a:t>
            </a:r>
            <a:r>
              <a:rPr lang="nl-NL" dirty="0"/>
              <a:t>, </a:t>
            </a:r>
            <a:r>
              <a:rPr lang="nl-NL" dirty="0" err="1" smtClean="0"/>
              <a:t>height</a:t>
            </a:r>
            <a:r>
              <a:rPr lang="nl-NL" dirty="0" smtClean="0"/>
              <a:t> </a:t>
            </a:r>
            <a:r>
              <a:rPr lang="nl-NL" dirty="0"/>
              <a:t>);</a:t>
            </a:r>
          </a:p>
          <a:p>
            <a:r>
              <a:rPr lang="nl-NL" dirty="0" err="1"/>
              <a:t>document.body.appendChild</a:t>
            </a:r>
            <a:r>
              <a:rPr lang="nl-NL" dirty="0"/>
              <a:t>( </a:t>
            </a:r>
            <a:r>
              <a:rPr lang="nl-NL" dirty="0" err="1"/>
              <a:t>renderer.domElement</a:t>
            </a:r>
            <a:r>
              <a:rPr lang="nl-NL" dirty="0"/>
              <a:t> );</a:t>
            </a:r>
          </a:p>
          <a:p>
            <a:endParaRPr lang="nl-NL" dirty="0" smtClean="0"/>
          </a:p>
          <a:p>
            <a:r>
              <a:rPr lang="nl-NL" dirty="0" err="1" smtClean="0"/>
              <a:t>function</a:t>
            </a:r>
            <a:r>
              <a:rPr lang="nl-NL" dirty="0" smtClean="0"/>
              <a:t> </a:t>
            </a:r>
            <a:r>
              <a:rPr lang="nl-NL" dirty="0" err="1"/>
              <a:t>render</a:t>
            </a:r>
            <a:r>
              <a:rPr lang="nl-NL" dirty="0"/>
              <a:t>() {</a:t>
            </a:r>
          </a:p>
          <a:p>
            <a:r>
              <a:rPr lang="nl-NL" dirty="0"/>
              <a:t>	</a:t>
            </a:r>
            <a:r>
              <a:rPr lang="nl-NL" dirty="0" err="1"/>
              <a:t>requestAnimationFrame</a:t>
            </a:r>
            <a:r>
              <a:rPr lang="nl-NL" dirty="0"/>
              <a:t>( </a:t>
            </a:r>
            <a:r>
              <a:rPr lang="nl-NL" dirty="0" err="1"/>
              <a:t>render</a:t>
            </a:r>
            <a:r>
              <a:rPr lang="nl-NL" dirty="0"/>
              <a:t> );</a:t>
            </a:r>
          </a:p>
          <a:p>
            <a:r>
              <a:rPr lang="nl-NL" dirty="0"/>
              <a:t>	</a:t>
            </a:r>
            <a:r>
              <a:rPr lang="nl-NL" dirty="0" err="1"/>
              <a:t>renderer.render</a:t>
            </a:r>
            <a:r>
              <a:rPr lang="nl-NL" dirty="0"/>
              <a:t>( scene, camera );</a:t>
            </a:r>
          </a:p>
          <a:p>
            <a:r>
              <a:rPr lang="nl-NL" dirty="0"/>
              <a:t>}</a:t>
            </a:r>
          </a:p>
          <a:p>
            <a:r>
              <a:rPr lang="nl-NL" dirty="0" err="1"/>
              <a:t>render</a:t>
            </a:r>
            <a:r>
              <a:rPr lang="nl-NL" dirty="0"/>
              <a:t>();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Scene en </a:t>
            </a:r>
            <a:r>
              <a:rPr lang="nl-NL" dirty="0" err="1" smtClean="0"/>
              <a:t>renderer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4</a:t>
            </a:fld>
            <a:endParaRPr lang="en-GB" noProof="0" dirty="0"/>
          </a:p>
        </p:txBody>
      </p:sp>
      <p:sp>
        <p:nvSpPr>
          <p:cNvPr id="6" name="Rounded Rectangular Callout 5"/>
          <p:cNvSpPr/>
          <p:nvPr/>
        </p:nvSpPr>
        <p:spPr>
          <a:xfrm>
            <a:off x="4686300" y="1554480"/>
            <a:ext cx="3848100" cy="381000"/>
          </a:xfrm>
          <a:prstGeom prst="wedgeRoundRectCallout">
            <a:avLst>
              <a:gd name="adj1" fmla="val -20833"/>
              <a:gd name="adj2" fmla="val 88500"/>
              <a:gd name="adj3" fmla="val 16667"/>
            </a:avLst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dirty="0" err="1"/>
              <a:t>PerspectiveCamera</a:t>
            </a:r>
            <a:r>
              <a:rPr lang="en-US" sz="1200" dirty="0"/>
              <a:t>( </a:t>
            </a:r>
            <a:r>
              <a:rPr lang="en-US" sz="1200" dirty="0" err="1"/>
              <a:t>fov</a:t>
            </a:r>
            <a:r>
              <a:rPr lang="en-US" sz="1200" dirty="0"/>
              <a:t>, aspect, near, far )</a:t>
            </a:r>
          </a:p>
        </p:txBody>
      </p:sp>
    </p:spTree>
    <p:extLst>
      <p:ext uri="{BB962C8B-B14F-4D97-AF65-F5344CB8AC3E}">
        <p14:creationId xmlns:p14="http://schemas.microsoft.com/office/powerpoint/2010/main" val="20675776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/>
          <p:cNvSpPr txBox="1"/>
          <p:nvPr/>
        </p:nvSpPr>
        <p:spPr>
          <a:xfrm>
            <a:off x="693420" y="5342326"/>
            <a:ext cx="1768680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400" dirty="0" err="1"/>
              <a:t>cube.position.z</a:t>
            </a:r>
            <a:r>
              <a:rPr lang="nl-NL" sz="1400" dirty="0"/>
              <a:t> = -10</a:t>
            </a:r>
            <a:r>
              <a:rPr lang="nl-NL" sz="1400" dirty="0" smtClean="0"/>
              <a:t>;</a:t>
            </a:r>
            <a:endParaRPr lang="nl-NL" sz="1400" dirty="0"/>
          </a:p>
        </p:txBody>
      </p:sp>
      <p:sp>
        <p:nvSpPr>
          <p:cNvPr id="14" name="TextBox 13"/>
          <p:cNvSpPr txBox="1"/>
          <p:nvPr/>
        </p:nvSpPr>
        <p:spPr>
          <a:xfrm>
            <a:off x="693420" y="3513526"/>
            <a:ext cx="4109065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400" dirty="0"/>
              <a:t>var </a:t>
            </a:r>
            <a:r>
              <a:rPr lang="nl-NL" sz="1400" dirty="0" err="1"/>
              <a:t>cube</a:t>
            </a:r>
            <a:r>
              <a:rPr lang="nl-NL" sz="1400" dirty="0"/>
              <a:t> = new </a:t>
            </a:r>
            <a:r>
              <a:rPr lang="nl-NL" sz="1400" dirty="0" err="1"/>
              <a:t>THREE.Mesh</a:t>
            </a:r>
            <a:r>
              <a:rPr lang="nl-NL" sz="1400" dirty="0"/>
              <a:t>( </a:t>
            </a:r>
            <a:r>
              <a:rPr lang="nl-NL" sz="1400" dirty="0" err="1"/>
              <a:t>geometry</a:t>
            </a:r>
            <a:r>
              <a:rPr lang="nl-NL" sz="1400" dirty="0"/>
              <a:t>, </a:t>
            </a:r>
            <a:r>
              <a:rPr lang="nl-NL" sz="1400" dirty="0" err="1"/>
              <a:t>material</a:t>
            </a:r>
            <a:r>
              <a:rPr lang="nl-NL" sz="1400" dirty="0"/>
              <a:t> </a:t>
            </a:r>
            <a:r>
              <a:rPr lang="nl-NL" sz="1400" dirty="0" smtClean="0"/>
              <a:t>);</a:t>
            </a:r>
            <a:endParaRPr lang="nl-NL" sz="1400" dirty="0"/>
          </a:p>
        </p:txBody>
      </p:sp>
      <p:sp>
        <p:nvSpPr>
          <p:cNvPr id="13" name="TextBox 12"/>
          <p:cNvSpPr txBox="1"/>
          <p:nvPr/>
        </p:nvSpPr>
        <p:spPr>
          <a:xfrm>
            <a:off x="693420" y="2545080"/>
            <a:ext cx="4115477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400" dirty="0"/>
              <a:t>var </a:t>
            </a:r>
            <a:r>
              <a:rPr lang="nl-NL" sz="1400" dirty="0" err="1"/>
              <a:t>geometry</a:t>
            </a:r>
            <a:r>
              <a:rPr lang="nl-NL" sz="1400" dirty="0"/>
              <a:t> = new </a:t>
            </a:r>
            <a:r>
              <a:rPr lang="nl-NL" sz="1400" dirty="0" err="1"/>
              <a:t>THREE.BoxGeometry</a:t>
            </a:r>
            <a:r>
              <a:rPr lang="nl-NL" sz="1400" dirty="0"/>
              <a:t>( 2, 2, 2 </a:t>
            </a:r>
            <a:r>
              <a:rPr lang="nl-NL" sz="1400" dirty="0" smtClean="0"/>
              <a:t>);</a:t>
            </a:r>
            <a:endParaRPr lang="nl-NL" sz="1400" dirty="0"/>
          </a:p>
        </p:txBody>
      </p:sp>
      <p:sp>
        <p:nvSpPr>
          <p:cNvPr id="12" name="TextBox 11"/>
          <p:cNvSpPr txBox="1"/>
          <p:nvPr/>
        </p:nvSpPr>
        <p:spPr>
          <a:xfrm>
            <a:off x="693420" y="1653540"/>
            <a:ext cx="5295287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en-US" sz="1400" dirty="0" err="1"/>
              <a:t>var</a:t>
            </a:r>
            <a:r>
              <a:rPr lang="en-US" sz="1400" dirty="0"/>
              <a:t> material = new </a:t>
            </a:r>
            <a:r>
              <a:rPr lang="en-US" sz="1400" dirty="0" err="1"/>
              <a:t>THREE.MeshBasicMaterial</a:t>
            </a:r>
            <a:r>
              <a:rPr lang="en-US" sz="1400" dirty="0"/>
              <a:t>( { color: 0x00ff00 } </a:t>
            </a:r>
            <a:r>
              <a:rPr lang="en-US" sz="1400" dirty="0" smtClean="0"/>
              <a:t>);</a:t>
            </a:r>
            <a:endParaRPr lang="en-US" sz="1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Material</a:t>
            </a:r>
          </a:p>
          <a:p>
            <a:endParaRPr lang="nl-NL" dirty="0" smtClean="0"/>
          </a:p>
          <a:p>
            <a:endParaRPr lang="nl-NL" dirty="0" smtClean="0"/>
          </a:p>
          <a:p>
            <a:r>
              <a:rPr lang="nl-NL" dirty="0" err="1" smtClean="0"/>
              <a:t>Geometry</a:t>
            </a:r>
            <a:endParaRPr lang="nl-NL" dirty="0" smtClean="0"/>
          </a:p>
          <a:p>
            <a:endParaRPr lang="nl-NL" dirty="0" smtClean="0"/>
          </a:p>
          <a:p>
            <a:endParaRPr lang="nl-NL" dirty="0" smtClean="0"/>
          </a:p>
          <a:p>
            <a:r>
              <a:rPr lang="nl-NL" dirty="0" err="1" smtClean="0"/>
              <a:t>Mesh</a:t>
            </a:r>
            <a:r>
              <a:rPr lang="nl-NL" dirty="0" smtClean="0"/>
              <a:t/>
            </a:r>
            <a:br>
              <a:rPr lang="nl-NL" dirty="0" smtClean="0"/>
            </a:br>
            <a:endParaRPr lang="nl-NL" dirty="0" smtClean="0"/>
          </a:p>
          <a:p>
            <a:endParaRPr lang="nl-NL" dirty="0"/>
          </a:p>
          <a:p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o</a:t>
            </a:r>
            <a:r>
              <a:rPr lang="nl-NL" dirty="0" smtClean="0"/>
              <a:t> scene</a:t>
            </a:r>
          </a:p>
          <a:p>
            <a:endParaRPr lang="nl-NL" dirty="0" smtClean="0"/>
          </a:p>
          <a:p>
            <a:endParaRPr lang="nl-NL" dirty="0" smtClean="0"/>
          </a:p>
          <a:p>
            <a:r>
              <a:rPr lang="nl-NL" dirty="0" smtClean="0"/>
              <a:t>Change </a:t>
            </a:r>
            <a:r>
              <a:rPr lang="nl-NL" dirty="0" err="1" smtClean="0"/>
              <a:t>position</a:t>
            </a:r>
            <a:r>
              <a:rPr lang="nl-NL" dirty="0" smtClean="0"/>
              <a:t> of the </a:t>
            </a:r>
            <a:r>
              <a:rPr lang="nl-NL" dirty="0" err="1" smtClean="0"/>
              <a:t>cube</a:t>
            </a:r>
            <a:r>
              <a:rPr lang="nl-NL" dirty="0" smtClean="0"/>
              <a:t> </a:t>
            </a:r>
            <a:r>
              <a:rPr lang="nl-NL" dirty="0" err="1" smtClean="0"/>
              <a:t>relative</a:t>
            </a:r>
            <a:r>
              <a:rPr lang="nl-NL" dirty="0" smtClean="0"/>
              <a:t> </a:t>
            </a:r>
            <a:r>
              <a:rPr lang="nl-NL" dirty="0" err="1" smtClean="0"/>
              <a:t>to</a:t>
            </a:r>
            <a:r>
              <a:rPr lang="nl-NL" dirty="0" smtClean="0"/>
              <a:t> the camera</a:t>
            </a:r>
            <a:endParaRPr lang="nl-NL" dirty="0"/>
          </a:p>
          <a:p>
            <a:endParaRPr lang="nl-NL" b="1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Step 1: </a:t>
            </a:r>
            <a:r>
              <a:rPr lang="nl-NL" dirty="0" err="1" smtClean="0"/>
              <a:t>creating</a:t>
            </a:r>
            <a:r>
              <a:rPr lang="nl-NL" dirty="0" smtClean="0"/>
              <a:t> </a:t>
            </a:r>
            <a:r>
              <a:rPr lang="nl-NL" dirty="0" err="1" smtClean="0"/>
              <a:t>an</a:t>
            </a:r>
            <a:r>
              <a:rPr lang="nl-NL" dirty="0" smtClean="0"/>
              <a:t> object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5</a:t>
            </a:fld>
            <a:endParaRPr lang="en-GB" noProof="0" dirty="0"/>
          </a:p>
        </p:txBody>
      </p:sp>
      <p:sp>
        <p:nvSpPr>
          <p:cNvPr id="10" name="Rectangle 9"/>
          <p:cNvSpPr/>
          <p:nvPr/>
        </p:nvSpPr>
        <p:spPr>
          <a:xfrm>
            <a:off x="2278380" y="1083944"/>
            <a:ext cx="7330440" cy="527304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pPr lvl="0" rtl="0"/>
            <a:r>
              <a:rPr lang="nl-NL" sz="1600" b="1" dirty="0" err="1" smtClean="0">
                <a:solidFill>
                  <a:schemeClr val="tx2"/>
                </a:solidFill>
              </a:rPr>
              <a:t>Geometries</a:t>
            </a:r>
            <a:endParaRPr lang="nl-NL" sz="1200" b="1" dirty="0">
              <a:solidFill>
                <a:schemeClr val="tx2"/>
              </a:solidFill>
            </a:endParaRPr>
          </a:p>
          <a:p>
            <a:pPr lvl="0" rtl="0"/>
            <a:endParaRPr lang="nl-NL" sz="1050" dirty="0" smtClean="0"/>
          </a:p>
          <a:p>
            <a:pPr lvl="0" rtl="0"/>
            <a:r>
              <a:rPr lang="nl-NL" sz="1050" dirty="0" err="1" smtClean="0"/>
              <a:t>BoxBufferGeometry</a:t>
            </a:r>
            <a:endParaRPr lang="nl-NL" sz="1050" dirty="0"/>
          </a:p>
          <a:p>
            <a:pPr lvl="0" rtl="0"/>
            <a:r>
              <a:rPr lang="nl-NL" sz="1050" b="1" dirty="0" err="1" smtClean="0"/>
              <a:t>BoxGeometry</a:t>
            </a:r>
            <a:endParaRPr lang="nl-NL" sz="1050" b="1" dirty="0"/>
          </a:p>
          <a:p>
            <a:pPr lvl="0" rtl="0"/>
            <a:r>
              <a:rPr lang="nl-NL" sz="1050" dirty="0" err="1" smtClean="0"/>
              <a:t>CircleBufferGeometry</a:t>
            </a:r>
            <a:endParaRPr lang="nl-NL" sz="1050" dirty="0"/>
          </a:p>
          <a:p>
            <a:pPr lvl="0" rtl="0"/>
            <a:r>
              <a:rPr lang="nl-NL" sz="1050" dirty="0" err="1" smtClean="0"/>
              <a:t>CircleGeometry</a:t>
            </a:r>
            <a:endParaRPr lang="nl-NL" sz="1050" dirty="0"/>
          </a:p>
          <a:p>
            <a:pPr lvl="0" rtl="0"/>
            <a:r>
              <a:rPr lang="nl-NL" sz="1050" dirty="0" err="1" smtClean="0"/>
              <a:t>CylinderBufferGeometry</a:t>
            </a:r>
            <a:endParaRPr lang="nl-NL" sz="1050" dirty="0"/>
          </a:p>
          <a:p>
            <a:pPr lvl="0" rtl="0"/>
            <a:r>
              <a:rPr lang="nl-NL" sz="1050" dirty="0" err="1" smtClean="0"/>
              <a:t>CylinderGeometry</a:t>
            </a:r>
            <a:endParaRPr lang="nl-NL" sz="1050" dirty="0"/>
          </a:p>
          <a:p>
            <a:pPr lvl="0" rtl="0"/>
            <a:r>
              <a:rPr lang="nl-NL" sz="1050" dirty="0" err="1" smtClean="0"/>
              <a:t>ConeBufferGeometry</a:t>
            </a:r>
            <a:endParaRPr lang="nl-NL" sz="1050" dirty="0"/>
          </a:p>
          <a:p>
            <a:pPr lvl="0" rtl="0"/>
            <a:r>
              <a:rPr lang="nl-NL" sz="1050" dirty="0" err="1" smtClean="0"/>
              <a:t>ConeGeometry</a:t>
            </a:r>
            <a:endParaRPr lang="nl-NL" sz="1050" dirty="0"/>
          </a:p>
          <a:p>
            <a:pPr lvl="0" rtl="0"/>
            <a:r>
              <a:rPr lang="nl-NL" sz="1050" dirty="0" err="1" smtClean="0"/>
              <a:t>DodecahedronGeometry</a:t>
            </a:r>
            <a:endParaRPr lang="nl-NL" sz="1050" dirty="0"/>
          </a:p>
          <a:p>
            <a:pPr lvl="0" rtl="0"/>
            <a:r>
              <a:rPr lang="nl-NL" sz="1050" dirty="0" err="1" smtClean="0"/>
              <a:t>ExtrudeGeometry</a:t>
            </a:r>
            <a:endParaRPr lang="nl-NL" sz="1050" dirty="0"/>
          </a:p>
          <a:p>
            <a:pPr lvl="0" rtl="0"/>
            <a:r>
              <a:rPr lang="nl-NL" sz="1050" dirty="0" err="1" smtClean="0"/>
              <a:t>IcosahedronGeometry</a:t>
            </a:r>
            <a:endParaRPr lang="nl-NL" sz="1050" dirty="0"/>
          </a:p>
          <a:p>
            <a:pPr lvl="0" rtl="0"/>
            <a:r>
              <a:rPr lang="nl-NL" sz="1050" dirty="0" err="1" smtClean="0"/>
              <a:t>LatheBufferGeometry</a:t>
            </a:r>
            <a:endParaRPr lang="nl-NL" sz="1050" dirty="0"/>
          </a:p>
          <a:p>
            <a:pPr lvl="0" rtl="0"/>
            <a:r>
              <a:rPr lang="nl-NL" sz="1050" dirty="0" err="1" smtClean="0"/>
              <a:t>LatheGeometry</a:t>
            </a:r>
            <a:endParaRPr lang="nl-NL" sz="1050" dirty="0"/>
          </a:p>
          <a:p>
            <a:pPr lvl="0" rtl="0"/>
            <a:r>
              <a:rPr lang="nl-NL" sz="1050" dirty="0" err="1" smtClean="0"/>
              <a:t>OctahedronGeometry</a:t>
            </a:r>
            <a:endParaRPr lang="nl-NL" sz="1050" dirty="0"/>
          </a:p>
          <a:p>
            <a:pPr lvl="0" rtl="0"/>
            <a:r>
              <a:rPr lang="nl-NL" sz="1050" dirty="0" err="1" smtClean="0"/>
              <a:t>ParametricGeometry</a:t>
            </a:r>
            <a:endParaRPr lang="nl-NL" sz="1050" dirty="0"/>
          </a:p>
          <a:p>
            <a:pPr lvl="0" rtl="0"/>
            <a:r>
              <a:rPr lang="nl-NL" sz="1050" dirty="0" err="1" smtClean="0"/>
              <a:t>PlaneBufferGeometry</a:t>
            </a:r>
            <a:endParaRPr lang="nl-NL" sz="1050" dirty="0"/>
          </a:p>
          <a:p>
            <a:pPr lvl="0" rtl="0"/>
            <a:r>
              <a:rPr lang="nl-NL" sz="1050" dirty="0" err="1" smtClean="0"/>
              <a:t>PlaneGeometry</a:t>
            </a:r>
            <a:endParaRPr lang="nl-NL" sz="1050" dirty="0"/>
          </a:p>
          <a:p>
            <a:pPr lvl="0" rtl="0"/>
            <a:r>
              <a:rPr lang="nl-NL" sz="1050" dirty="0" err="1" smtClean="0"/>
              <a:t>PolyhedronGeometry</a:t>
            </a:r>
            <a:endParaRPr lang="nl-NL" sz="1050" dirty="0"/>
          </a:p>
          <a:p>
            <a:pPr lvl="0" rtl="0"/>
            <a:r>
              <a:rPr lang="nl-NL" sz="1050" dirty="0" err="1" smtClean="0"/>
              <a:t>RingBufferGeometry</a:t>
            </a:r>
            <a:endParaRPr lang="nl-NL" sz="1050" dirty="0"/>
          </a:p>
          <a:p>
            <a:pPr lvl="0" rtl="0"/>
            <a:r>
              <a:rPr lang="nl-NL" sz="1050" dirty="0" err="1" smtClean="0"/>
              <a:t>RingGeometry</a:t>
            </a:r>
            <a:endParaRPr lang="nl-NL" sz="1050" dirty="0"/>
          </a:p>
          <a:p>
            <a:pPr lvl="0" rtl="0"/>
            <a:r>
              <a:rPr lang="nl-NL" sz="1050" dirty="0" err="1" smtClean="0"/>
              <a:t>ShapeGeometry</a:t>
            </a:r>
            <a:endParaRPr lang="nl-NL" sz="1050" dirty="0"/>
          </a:p>
          <a:p>
            <a:pPr lvl="0" rtl="0"/>
            <a:r>
              <a:rPr lang="nl-NL" sz="1050" dirty="0" err="1" smtClean="0"/>
              <a:t>SphereBufferGeometry</a:t>
            </a:r>
            <a:endParaRPr lang="nl-NL" sz="1050" dirty="0"/>
          </a:p>
          <a:p>
            <a:pPr lvl="0" rtl="0"/>
            <a:r>
              <a:rPr lang="nl-NL" sz="1050" dirty="0" err="1" smtClean="0"/>
              <a:t>SphereGeometry</a:t>
            </a:r>
            <a:endParaRPr lang="nl-NL" sz="1050" dirty="0"/>
          </a:p>
          <a:p>
            <a:pPr lvl="0" rtl="0"/>
            <a:r>
              <a:rPr lang="nl-NL" sz="1050" dirty="0" err="1" smtClean="0"/>
              <a:t>TetrahedronGeometry</a:t>
            </a:r>
            <a:endParaRPr lang="nl-NL" sz="1050" dirty="0"/>
          </a:p>
          <a:p>
            <a:pPr lvl="0" rtl="0"/>
            <a:r>
              <a:rPr lang="nl-NL" sz="1050" dirty="0" err="1" smtClean="0"/>
              <a:t>TextGeometry</a:t>
            </a:r>
            <a:endParaRPr lang="nl-NL" sz="1050" dirty="0"/>
          </a:p>
          <a:p>
            <a:pPr lvl="0" rtl="0"/>
            <a:r>
              <a:rPr lang="nl-NL" sz="1050" dirty="0" err="1" smtClean="0"/>
              <a:t>TorusBufferGeometry</a:t>
            </a:r>
            <a:endParaRPr lang="nl-NL" sz="1050" dirty="0"/>
          </a:p>
          <a:p>
            <a:pPr lvl="0" rtl="0"/>
            <a:r>
              <a:rPr lang="nl-NL" sz="1050" dirty="0" err="1" smtClean="0"/>
              <a:t>TorusGeometry</a:t>
            </a:r>
            <a:endParaRPr lang="nl-NL" sz="1050" dirty="0"/>
          </a:p>
          <a:p>
            <a:pPr lvl="0" rtl="0"/>
            <a:r>
              <a:rPr lang="nl-NL" sz="1050" dirty="0" err="1" smtClean="0"/>
              <a:t>TorusKnotBufferGeometry</a:t>
            </a:r>
            <a:endParaRPr lang="nl-NL" sz="1050" dirty="0"/>
          </a:p>
          <a:p>
            <a:pPr lvl="0" rtl="0"/>
            <a:r>
              <a:rPr lang="nl-NL" sz="1050" dirty="0" err="1" smtClean="0"/>
              <a:t>TorusKnotGeometry</a:t>
            </a:r>
            <a:endParaRPr lang="nl-NL" sz="1050" dirty="0"/>
          </a:p>
          <a:p>
            <a:pPr lvl="0" rtl="0"/>
            <a:r>
              <a:rPr lang="nl-NL" sz="1050" dirty="0" err="1" smtClean="0"/>
              <a:t>TubeGeometry</a:t>
            </a:r>
            <a:endParaRPr lang="nl-NL" sz="1050" dirty="0"/>
          </a:p>
        </p:txBody>
      </p:sp>
      <p:sp>
        <p:nvSpPr>
          <p:cNvPr id="11" name="Rectangle 10"/>
          <p:cNvSpPr/>
          <p:nvPr/>
        </p:nvSpPr>
        <p:spPr>
          <a:xfrm>
            <a:off x="2278380" y="1091564"/>
            <a:ext cx="4838700" cy="527304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pPr lvl="0" rtl="0"/>
            <a:r>
              <a:rPr lang="nl-NL" sz="1600" b="1" dirty="0" err="1" smtClean="0">
                <a:solidFill>
                  <a:schemeClr val="tx2"/>
                </a:solidFill>
              </a:rPr>
              <a:t>Materials</a:t>
            </a:r>
            <a:endParaRPr lang="nl-NL" sz="1200" b="1" dirty="0">
              <a:solidFill>
                <a:schemeClr val="tx2"/>
              </a:solidFill>
            </a:endParaRPr>
          </a:p>
          <a:p>
            <a:pPr lvl="0" rtl="0"/>
            <a:endParaRPr lang="nl-NL" sz="1050" dirty="0" smtClean="0"/>
          </a:p>
          <a:p>
            <a:pPr lvl="0"/>
            <a:r>
              <a:rPr lang="nl-NL" sz="1050" dirty="0" err="1"/>
              <a:t>LineBasicMaterial</a:t>
            </a:r>
            <a:endParaRPr lang="nl-NL" sz="1050" dirty="0"/>
          </a:p>
          <a:p>
            <a:pPr lvl="0"/>
            <a:r>
              <a:rPr lang="nl-NL" sz="1050" dirty="0" err="1"/>
              <a:t>LineDashedMaterial</a:t>
            </a:r>
            <a:endParaRPr lang="nl-NL" sz="1050" dirty="0"/>
          </a:p>
          <a:p>
            <a:pPr lvl="0"/>
            <a:r>
              <a:rPr lang="nl-NL" sz="1050" dirty="0" err="1"/>
              <a:t>Material</a:t>
            </a:r>
            <a:endParaRPr lang="nl-NL" sz="1050" dirty="0"/>
          </a:p>
          <a:p>
            <a:pPr lvl="0"/>
            <a:r>
              <a:rPr lang="nl-NL" sz="1050" b="1" dirty="0" err="1"/>
              <a:t>MeshBasicMaterial</a:t>
            </a:r>
            <a:endParaRPr lang="nl-NL" sz="1050" b="1" dirty="0"/>
          </a:p>
          <a:p>
            <a:pPr lvl="0"/>
            <a:r>
              <a:rPr lang="nl-NL" sz="1050" dirty="0" err="1"/>
              <a:t>MeshDepthMaterial</a:t>
            </a:r>
            <a:endParaRPr lang="nl-NL" sz="1050" dirty="0"/>
          </a:p>
          <a:p>
            <a:pPr lvl="0"/>
            <a:r>
              <a:rPr lang="nl-NL" sz="1050" dirty="0" err="1"/>
              <a:t>MultiMaterial</a:t>
            </a:r>
            <a:endParaRPr lang="nl-NL" sz="1050" dirty="0"/>
          </a:p>
          <a:p>
            <a:pPr lvl="0"/>
            <a:r>
              <a:rPr lang="nl-NL" sz="1050" dirty="0" err="1"/>
              <a:t>MeshLambertMaterial</a:t>
            </a:r>
            <a:endParaRPr lang="nl-NL" sz="1050" dirty="0"/>
          </a:p>
          <a:p>
            <a:pPr lvl="0"/>
            <a:r>
              <a:rPr lang="nl-NL" sz="1050" dirty="0" err="1"/>
              <a:t>MeshNormalMaterial</a:t>
            </a:r>
            <a:endParaRPr lang="nl-NL" sz="1050" dirty="0"/>
          </a:p>
          <a:p>
            <a:pPr lvl="0"/>
            <a:r>
              <a:rPr lang="nl-NL" sz="1050" b="1" dirty="0" err="1"/>
              <a:t>MeshPhongMaterial</a:t>
            </a:r>
            <a:endParaRPr lang="nl-NL" sz="1050" b="1" dirty="0"/>
          </a:p>
          <a:p>
            <a:pPr lvl="0"/>
            <a:r>
              <a:rPr lang="nl-NL" sz="1050" dirty="0" err="1"/>
              <a:t>MeshStandardMaterial</a:t>
            </a:r>
            <a:endParaRPr lang="nl-NL" sz="1050" dirty="0"/>
          </a:p>
          <a:p>
            <a:pPr lvl="0"/>
            <a:r>
              <a:rPr lang="nl-NL" sz="1050" dirty="0" err="1"/>
              <a:t>PointsMaterial</a:t>
            </a:r>
            <a:endParaRPr lang="nl-NL" sz="1050" dirty="0"/>
          </a:p>
          <a:p>
            <a:pPr lvl="0"/>
            <a:r>
              <a:rPr lang="nl-NL" sz="1050" dirty="0" err="1"/>
              <a:t>RawShaderMaterial</a:t>
            </a:r>
            <a:endParaRPr lang="nl-NL" sz="1050" dirty="0"/>
          </a:p>
          <a:p>
            <a:pPr lvl="0"/>
            <a:r>
              <a:rPr lang="nl-NL" sz="1050" dirty="0" err="1"/>
              <a:t>ShaderMaterial</a:t>
            </a:r>
            <a:endParaRPr lang="nl-NL" sz="1050" dirty="0"/>
          </a:p>
          <a:p>
            <a:pPr lvl="0"/>
            <a:r>
              <a:rPr lang="nl-NL" sz="1050" dirty="0" err="1"/>
              <a:t>SpriteMaterial</a:t>
            </a:r>
            <a:endParaRPr lang="nl-NL" sz="1050" dirty="0" smtClean="0"/>
          </a:p>
        </p:txBody>
      </p:sp>
      <p:sp>
        <p:nvSpPr>
          <p:cNvPr id="15" name="TextBox 14"/>
          <p:cNvSpPr txBox="1"/>
          <p:nvPr/>
        </p:nvSpPr>
        <p:spPr>
          <a:xfrm>
            <a:off x="693420" y="4397446"/>
            <a:ext cx="1526627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400" dirty="0" err="1"/>
              <a:t>scene.add</a:t>
            </a:r>
            <a:r>
              <a:rPr lang="nl-NL" sz="1400" dirty="0"/>
              <a:t>( </a:t>
            </a:r>
            <a:r>
              <a:rPr lang="nl-NL" sz="1400" dirty="0" err="1"/>
              <a:t>cube</a:t>
            </a:r>
            <a:r>
              <a:rPr lang="nl-NL" sz="1400" dirty="0"/>
              <a:t> </a:t>
            </a:r>
            <a:r>
              <a:rPr lang="nl-NL" sz="1400" dirty="0" smtClean="0"/>
              <a:t>);</a:t>
            </a:r>
            <a:endParaRPr lang="nl-NL" sz="1400" dirty="0"/>
          </a:p>
        </p:txBody>
      </p:sp>
      <p:pic>
        <p:nvPicPr>
          <p:cNvPr id="5122" name="Picture 2" descr="http://www.3dvia.com/blog/wp-content/uploads/2011/02/component_image_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6038" y="3992879"/>
            <a:ext cx="4503384" cy="16375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http://orm-chimera-prod.s3.amazonaws.com/1234000000802/figs/p3da_Figure_4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5175" y="2105024"/>
            <a:ext cx="4770466" cy="2832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879826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1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00"/>
                            </p:stCondLst>
                            <p:childTnLst>
                              <p:par>
                                <p:cTn id="30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51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51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4" grpId="0"/>
      <p:bldP spid="13" grpId="0"/>
      <p:bldP spid="12" grpId="0"/>
      <p:bldP spid="10" grpId="0" animBg="1"/>
      <p:bldP spid="10" grpId="1" animBg="1"/>
      <p:bldP spid="11" grpId="0" animBg="1"/>
      <p:bldP spid="11" grpId="1" animBg="1"/>
      <p:bldP spid="15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smtClean="0"/>
              <a:t>var </a:t>
            </a:r>
            <a:r>
              <a:rPr lang="nl-NL" dirty="0" err="1"/>
              <a:t>texture</a:t>
            </a:r>
            <a:r>
              <a:rPr lang="nl-NL" dirty="0"/>
              <a:t> = new </a:t>
            </a:r>
            <a:r>
              <a:rPr lang="nl-NL" dirty="0" err="1"/>
              <a:t>THREE.TextureLoader</a:t>
            </a:r>
            <a:r>
              <a:rPr lang="nl-NL" dirty="0"/>
              <a:t>().load( ['ez.jpg'] );</a:t>
            </a:r>
          </a:p>
          <a:p>
            <a:r>
              <a:rPr lang="nl-NL" dirty="0">
                <a:solidFill>
                  <a:schemeClr val="tx1">
                    <a:lumMod val="40000"/>
                    <a:lumOff val="60000"/>
                  </a:schemeClr>
                </a:solidFill>
              </a:rPr>
              <a:t>v</a:t>
            </a:r>
            <a:r>
              <a:rPr lang="nl-NL" dirty="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t>ar </a:t>
            </a:r>
            <a:r>
              <a:rPr lang="nl-NL" dirty="0" err="1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t>material</a:t>
            </a:r>
            <a:r>
              <a:rPr lang="nl-NL" dirty="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nl-NL" dirty="0">
                <a:solidFill>
                  <a:schemeClr val="tx1">
                    <a:lumMod val="40000"/>
                    <a:lumOff val="60000"/>
                  </a:schemeClr>
                </a:solidFill>
              </a:rPr>
              <a:t>= new </a:t>
            </a:r>
            <a:r>
              <a:rPr lang="nl-NL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THREE.MeshBasicMaterial</a:t>
            </a:r>
            <a:r>
              <a:rPr lang="nl-NL" dirty="0">
                <a:solidFill>
                  <a:schemeClr val="tx1">
                    <a:lumMod val="40000"/>
                    <a:lumOff val="60000"/>
                  </a:schemeClr>
                </a:solidFill>
              </a:rPr>
              <a:t>( </a:t>
            </a:r>
            <a:r>
              <a:rPr lang="nl-NL" dirty="0"/>
              <a:t>{ map: </a:t>
            </a:r>
            <a:r>
              <a:rPr lang="nl-NL" dirty="0" err="1"/>
              <a:t>texture</a:t>
            </a:r>
            <a:r>
              <a:rPr lang="nl-NL" dirty="0"/>
              <a:t> } </a:t>
            </a:r>
            <a:r>
              <a:rPr lang="nl-NL" dirty="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t>);</a:t>
            </a:r>
          </a:p>
          <a:p>
            <a:r>
              <a:rPr lang="nl-NL" dirty="0">
                <a:solidFill>
                  <a:schemeClr val="tx1">
                    <a:lumMod val="40000"/>
                    <a:lumOff val="60000"/>
                  </a:schemeClr>
                </a:solidFill>
              </a:rPr>
              <a:t>var </a:t>
            </a:r>
            <a:r>
              <a:rPr lang="nl-NL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geometry</a:t>
            </a:r>
            <a:r>
              <a:rPr lang="nl-NL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= new </a:t>
            </a:r>
            <a:r>
              <a:rPr lang="nl-NL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THREE.BoxGeometry</a:t>
            </a:r>
            <a:r>
              <a:rPr lang="nl-NL" dirty="0">
                <a:solidFill>
                  <a:schemeClr val="tx1">
                    <a:lumMod val="40000"/>
                    <a:lumOff val="60000"/>
                  </a:schemeClr>
                </a:solidFill>
              </a:rPr>
              <a:t>( 2, 2, 2 </a:t>
            </a:r>
            <a:r>
              <a:rPr lang="nl-NL" dirty="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t>);</a:t>
            </a:r>
          </a:p>
          <a:p>
            <a:r>
              <a:rPr lang="nl-NL" dirty="0">
                <a:solidFill>
                  <a:schemeClr val="tx1">
                    <a:lumMod val="40000"/>
                    <a:lumOff val="60000"/>
                  </a:schemeClr>
                </a:solidFill>
              </a:rPr>
              <a:t>var </a:t>
            </a:r>
            <a:r>
              <a:rPr lang="nl-NL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cube</a:t>
            </a:r>
            <a:r>
              <a:rPr lang="nl-NL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= new </a:t>
            </a:r>
            <a:r>
              <a:rPr lang="nl-NL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THREE.Mesh</a:t>
            </a:r>
            <a:r>
              <a:rPr lang="nl-NL" dirty="0">
                <a:solidFill>
                  <a:schemeClr val="tx1">
                    <a:lumMod val="40000"/>
                    <a:lumOff val="60000"/>
                  </a:schemeClr>
                </a:solidFill>
              </a:rPr>
              <a:t>( </a:t>
            </a:r>
            <a:r>
              <a:rPr lang="nl-NL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geometry</a:t>
            </a:r>
            <a:r>
              <a:rPr lang="nl-NL" dirty="0">
                <a:solidFill>
                  <a:schemeClr val="tx1">
                    <a:lumMod val="40000"/>
                    <a:lumOff val="60000"/>
                  </a:schemeClr>
                </a:solidFill>
              </a:rPr>
              <a:t>, </a:t>
            </a:r>
            <a:r>
              <a:rPr lang="nl-NL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material</a:t>
            </a:r>
            <a:r>
              <a:rPr lang="nl-NL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);</a:t>
            </a:r>
          </a:p>
          <a:p>
            <a:endParaRPr lang="nl-NL" dirty="0"/>
          </a:p>
          <a:p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Step 2: </a:t>
            </a:r>
            <a:r>
              <a:rPr lang="nl-NL" dirty="0" err="1" smtClean="0"/>
              <a:t>adding</a:t>
            </a:r>
            <a:r>
              <a:rPr lang="nl-NL" dirty="0" smtClean="0"/>
              <a:t> </a:t>
            </a:r>
            <a:r>
              <a:rPr lang="nl-NL" dirty="0" err="1" smtClean="0"/>
              <a:t>textur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6</a:t>
            </a:fld>
            <a:endParaRPr lang="en-GB" noProof="0" dirty="0"/>
          </a:p>
        </p:txBody>
      </p:sp>
      <p:pic>
        <p:nvPicPr>
          <p:cNvPr id="5" name="Picture 2" descr="http://www.real3dtutorials.com/images/img00017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0181" y="3284220"/>
            <a:ext cx="6260990" cy="26516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68528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b="1" dirty="0" err="1" smtClean="0"/>
              <a:t>Rotating</a:t>
            </a:r>
            <a:r>
              <a:rPr lang="nl-NL" b="1" dirty="0" smtClean="0"/>
              <a:t> the object</a:t>
            </a:r>
          </a:p>
          <a:p>
            <a:endParaRPr lang="nl-NL" dirty="0" smtClean="0"/>
          </a:p>
          <a:p>
            <a:r>
              <a:rPr lang="nl-NL" sz="1600" dirty="0" smtClean="0"/>
              <a:t>	</a:t>
            </a:r>
            <a:r>
              <a:rPr lang="nl-NL" sz="1600" dirty="0" err="1" smtClean="0"/>
              <a:t>cube.rotation.x</a:t>
            </a:r>
            <a:r>
              <a:rPr lang="nl-NL" sz="1600" dirty="0" smtClean="0"/>
              <a:t> </a:t>
            </a:r>
            <a:r>
              <a:rPr lang="nl-NL" sz="1600" dirty="0"/>
              <a:t>= 0.3;</a:t>
            </a:r>
          </a:p>
          <a:p>
            <a:r>
              <a:rPr lang="nl-NL" sz="1600" dirty="0" smtClean="0"/>
              <a:t>	</a:t>
            </a:r>
            <a:r>
              <a:rPr lang="nl-NL" sz="1600" dirty="0" err="1" smtClean="0"/>
              <a:t>cube.rotation.y</a:t>
            </a:r>
            <a:r>
              <a:rPr lang="nl-NL" sz="1600" dirty="0" smtClean="0"/>
              <a:t> </a:t>
            </a:r>
            <a:r>
              <a:rPr lang="nl-NL" sz="1600" dirty="0"/>
              <a:t>= 0.3</a:t>
            </a:r>
            <a:r>
              <a:rPr lang="nl-NL" sz="1600" dirty="0" smtClean="0"/>
              <a:t>;</a:t>
            </a:r>
          </a:p>
          <a:p>
            <a:endParaRPr lang="nl-NL" dirty="0"/>
          </a:p>
          <a:p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Step 3: </a:t>
            </a:r>
            <a:r>
              <a:rPr lang="nl-NL" dirty="0" err="1" smtClean="0"/>
              <a:t>rotating</a:t>
            </a:r>
            <a:r>
              <a:rPr lang="nl-NL" dirty="0" smtClean="0"/>
              <a:t> </a:t>
            </a:r>
            <a:r>
              <a:rPr lang="nl-NL" dirty="0" err="1" smtClean="0"/>
              <a:t>and</a:t>
            </a:r>
            <a:r>
              <a:rPr lang="nl-NL" dirty="0" smtClean="0"/>
              <a:t> </a:t>
            </a:r>
            <a:r>
              <a:rPr lang="nl-NL" dirty="0" err="1" smtClean="0"/>
              <a:t>moving</a:t>
            </a:r>
            <a:r>
              <a:rPr lang="nl-NL" dirty="0" smtClean="0"/>
              <a:t> the object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7</a:t>
            </a:fld>
            <a:endParaRPr lang="en-GB" noProof="0" dirty="0"/>
          </a:p>
        </p:txBody>
      </p:sp>
      <p:sp>
        <p:nvSpPr>
          <p:cNvPr id="5" name="TextBox 4"/>
          <p:cNvSpPr txBox="1"/>
          <p:nvPr/>
        </p:nvSpPr>
        <p:spPr>
          <a:xfrm>
            <a:off x="685800" y="2910840"/>
            <a:ext cx="8404860" cy="2104028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nl-NL" sz="2000" b="1" dirty="0" err="1"/>
              <a:t>Continues</a:t>
            </a:r>
            <a:r>
              <a:rPr lang="nl-NL" sz="2000" b="1" dirty="0"/>
              <a:t> </a:t>
            </a:r>
            <a:r>
              <a:rPr lang="nl-NL" sz="2000" b="1" dirty="0" err="1"/>
              <a:t>rotation</a:t>
            </a:r>
            <a:endParaRPr lang="nl-NL" sz="2000" b="1" dirty="0"/>
          </a:p>
          <a:p>
            <a:endParaRPr lang="nl-NL" sz="1600" dirty="0"/>
          </a:p>
          <a:p>
            <a:r>
              <a:rPr lang="nl-NL" sz="1600" dirty="0" smtClean="0"/>
              <a:t>	</a:t>
            </a:r>
            <a:r>
              <a:rPr lang="nl-NL" sz="1600" dirty="0" err="1" smtClean="0"/>
              <a:t>function</a:t>
            </a:r>
            <a:r>
              <a:rPr lang="nl-NL" sz="1600" dirty="0" smtClean="0"/>
              <a:t> </a:t>
            </a:r>
            <a:r>
              <a:rPr lang="nl-NL" sz="1600" dirty="0" err="1"/>
              <a:t>render</a:t>
            </a:r>
            <a:r>
              <a:rPr lang="nl-NL" sz="1600" dirty="0"/>
              <a:t>() {</a:t>
            </a:r>
          </a:p>
          <a:p>
            <a:r>
              <a:rPr lang="nl-NL" sz="1600" dirty="0"/>
              <a:t>	</a:t>
            </a:r>
            <a:r>
              <a:rPr lang="nl-NL" sz="1600" dirty="0" smtClean="0"/>
              <a:t>	</a:t>
            </a:r>
            <a:r>
              <a:rPr lang="nl-NL" sz="1600" dirty="0" err="1" smtClean="0"/>
              <a:t>requestAnimationFrame</a:t>
            </a:r>
            <a:r>
              <a:rPr lang="nl-NL" sz="1600" dirty="0"/>
              <a:t>( </a:t>
            </a:r>
            <a:r>
              <a:rPr lang="nl-NL" sz="1600" dirty="0" err="1"/>
              <a:t>render</a:t>
            </a:r>
            <a:r>
              <a:rPr lang="nl-NL" sz="1600" dirty="0"/>
              <a:t> );</a:t>
            </a:r>
          </a:p>
          <a:p>
            <a:r>
              <a:rPr lang="nl-NL" sz="1600" dirty="0" smtClean="0"/>
              <a:t>	</a:t>
            </a:r>
            <a:r>
              <a:rPr lang="nl-NL" sz="1600" dirty="0"/>
              <a:t>	</a:t>
            </a:r>
            <a:r>
              <a:rPr lang="nl-NL" sz="1600" dirty="0" err="1"/>
              <a:t>cube.rotation.x</a:t>
            </a:r>
            <a:r>
              <a:rPr lang="nl-NL" sz="1600" dirty="0"/>
              <a:t> += 0.01;</a:t>
            </a:r>
          </a:p>
          <a:p>
            <a:r>
              <a:rPr lang="nl-NL" sz="1600" dirty="0"/>
              <a:t>	</a:t>
            </a:r>
            <a:r>
              <a:rPr lang="nl-NL" sz="1600" dirty="0" smtClean="0"/>
              <a:t>	</a:t>
            </a:r>
            <a:r>
              <a:rPr lang="nl-NL" sz="1600" dirty="0" err="1" smtClean="0"/>
              <a:t>cube.rotation.y</a:t>
            </a:r>
            <a:r>
              <a:rPr lang="nl-NL" sz="1600" dirty="0" smtClean="0"/>
              <a:t> </a:t>
            </a:r>
            <a:r>
              <a:rPr lang="nl-NL" sz="1600" dirty="0"/>
              <a:t>+= 0.01;</a:t>
            </a:r>
          </a:p>
          <a:p>
            <a:r>
              <a:rPr lang="nl-NL" sz="1600" dirty="0" smtClean="0"/>
              <a:t>	</a:t>
            </a:r>
            <a:r>
              <a:rPr lang="nl-NL" sz="1600" dirty="0"/>
              <a:t>	</a:t>
            </a:r>
            <a:r>
              <a:rPr lang="nl-NL" sz="1600" dirty="0" err="1"/>
              <a:t>renderer.render</a:t>
            </a:r>
            <a:r>
              <a:rPr lang="nl-NL" sz="1600" dirty="0"/>
              <a:t>( scene, camera );</a:t>
            </a:r>
          </a:p>
          <a:p>
            <a:r>
              <a:rPr lang="nl-NL" sz="1600" dirty="0" smtClean="0"/>
              <a:t>	}</a:t>
            </a:r>
          </a:p>
        </p:txBody>
      </p:sp>
    </p:spTree>
    <p:extLst>
      <p:ext uri="{BB962C8B-B14F-4D97-AF65-F5344CB8AC3E}">
        <p14:creationId xmlns:p14="http://schemas.microsoft.com/office/powerpoint/2010/main" val="27551507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85799" y="1278387"/>
            <a:ext cx="8522455" cy="1373373"/>
          </a:xfrm>
        </p:spPr>
        <p:txBody>
          <a:bodyPr/>
          <a:lstStyle/>
          <a:p>
            <a:r>
              <a:rPr lang="nl-NL" b="1" dirty="0" err="1" smtClean="0"/>
              <a:t>Ambient</a:t>
            </a:r>
            <a:r>
              <a:rPr lang="nl-NL" b="1" dirty="0" smtClean="0"/>
              <a:t> light</a:t>
            </a:r>
          </a:p>
          <a:p>
            <a:endParaRPr lang="nl-NL" b="1" dirty="0" smtClean="0"/>
          </a:p>
          <a:p>
            <a:r>
              <a:rPr lang="nl-NL" sz="1600" dirty="0"/>
              <a:t>	</a:t>
            </a:r>
            <a:r>
              <a:rPr lang="nl-NL" sz="1600" dirty="0" err="1"/>
              <a:t>ambient</a:t>
            </a:r>
            <a:r>
              <a:rPr lang="nl-NL" sz="1600" dirty="0"/>
              <a:t> = new </a:t>
            </a:r>
            <a:r>
              <a:rPr lang="nl-NL" sz="1600" dirty="0" err="1"/>
              <a:t>THREE.AmbientLight</a:t>
            </a:r>
            <a:r>
              <a:rPr lang="nl-NL" sz="1600" dirty="0"/>
              <a:t>( 0xffffff, 0.1 );</a:t>
            </a:r>
          </a:p>
          <a:p>
            <a:r>
              <a:rPr lang="nl-NL" sz="1600" dirty="0"/>
              <a:t>	</a:t>
            </a:r>
            <a:r>
              <a:rPr lang="nl-NL" sz="1600" dirty="0" err="1"/>
              <a:t>scene.add</a:t>
            </a:r>
            <a:r>
              <a:rPr lang="nl-NL" sz="1600" dirty="0"/>
              <a:t>( </a:t>
            </a:r>
            <a:r>
              <a:rPr lang="nl-NL" sz="1600" dirty="0" err="1"/>
              <a:t>ambient</a:t>
            </a:r>
            <a:r>
              <a:rPr lang="nl-NL" sz="1600" dirty="0"/>
              <a:t> </a:t>
            </a:r>
            <a:r>
              <a:rPr lang="nl-NL" sz="1600" dirty="0" smtClean="0"/>
              <a:t>);</a:t>
            </a:r>
          </a:p>
          <a:p>
            <a:r>
              <a:rPr lang="nl-NL" sz="1600" dirty="0"/>
              <a:t>	</a:t>
            </a:r>
            <a:r>
              <a:rPr lang="nl-NL" sz="1600" dirty="0" smtClean="0"/>
              <a:t>	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Step 4: </a:t>
            </a:r>
            <a:r>
              <a:rPr lang="nl-NL" dirty="0" err="1" smtClean="0"/>
              <a:t>lighting</a:t>
            </a:r>
            <a:r>
              <a:rPr lang="nl-NL" dirty="0" smtClean="0"/>
              <a:t>: </a:t>
            </a:r>
            <a:r>
              <a:rPr lang="nl-NL" dirty="0" err="1" smtClean="0"/>
              <a:t>ambient</a:t>
            </a:r>
            <a:r>
              <a:rPr lang="nl-NL" dirty="0" smtClean="0"/>
              <a:t> light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8</a:t>
            </a:fld>
            <a:endParaRPr lang="en-GB" noProof="0" dirty="0"/>
          </a:p>
        </p:txBody>
      </p:sp>
      <p:sp>
        <p:nvSpPr>
          <p:cNvPr id="5" name="TextBox 4"/>
          <p:cNvSpPr txBox="1"/>
          <p:nvPr/>
        </p:nvSpPr>
        <p:spPr>
          <a:xfrm>
            <a:off x="685798" y="3078480"/>
            <a:ext cx="7856221" cy="235025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nl-NL" sz="2000" b="1" dirty="0" err="1" smtClean="0"/>
              <a:t>Use</a:t>
            </a:r>
            <a:r>
              <a:rPr lang="nl-NL" sz="2000" b="1" dirty="0" smtClean="0"/>
              <a:t> correct </a:t>
            </a:r>
            <a:r>
              <a:rPr lang="nl-NL" sz="2000" b="1" dirty="0" err="1" smtClean="0"/>
              <a:t>material</a:t>
            </a:r>
            <a:endParaRPr lang="nl-NL" sz="2000" b="1" dirty="0" smtClean="0"/>
          </a:p>
          <a:p>
            <a:endParaRPr lang="nl-NL" sz="1600" dirty="0" smtClean="0"/>
          </a:p>
          <a:p>
            <a:r>
              <a:rPr lang="nl-NL" sz="1600" dirty="0" smtClean="0"/>
              <a:t>No </a:t>
            </a:r>
            <a:r>
              <a:rPr lang="nl-NL" sz="1600" dirty="0" err="1" smtClean="0"/>
              <a:t>lights</a:t>
            </a:r>
            <a:r>
              <a:rPr lang="nl-NL" sz="1600" dirty="0" smtClean="0"/>
              <a:t> </a:t>
            </a:r>
            <a:r>
              <a:rPr lang="nl-NL" sz="1600" dirty="0" err="1" smtClean="0"/>
              <a:t>and</a:t>
            </a:r>
            <a:r>
              <a:rPr lang="nl-NL" sz="1600" dirty="0" smtClean="0"/>
              <a:t> </a:t>
            </a:r>
            <a:r>
              <a:rPr lang="nl-NL" sz="1600" dirty="0" err="1" smtClean="0"/>
              <a:t>shadows</a:t>
            </a:r>
            <a:r>
              <a:rPr lang="nl-NL" sz="1600" dirty="0" smtClean="0"/>
              <a:t> on</a:t>
            </a:r>
          </a:p>
          <a:p>
            <a:r>
              <a:rPr lang="nl-NL" sz="1600" dirty="0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	</a:t>
            </a:r>
            <a:r>
              <a:rPr lang="nl-NL" sz="1600" dirty="0" err="1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THREE.</a:t>
            </a:r>
            <a:r>
              <a:rPr lang="nl-NL" sz="1600" dirty="0" err="1" smtClean="0"/>
              <a:t>MeshBasicMaterial</a:t>
            </a:r>
            <a:r>
              <a:rPr lang="nl-NL" sz="1600" dirty="0">
                <a:solidFill>
                  <a:schemeClr val="bg2">
                    <a:lumMod val="40000"/>
                    <a:lumOff val="60000"/>
                  </a:schemeClr>
                </a:solidFill>
              </a:rPr>
              <a:t>( { map: </a:t>
            </a:r>
            <a:r>
              <a:rPr lang="nl-NL" sz="1600" dirty="0" err="1">
                <a:solidFill>
                  <a:schemeClr val="bg2">
                    <a:lumMod val="40000"/>
                    <a:lumOff val="60000"/>
                  </a:schemeClr>
                </a:solidFill>
              </a:rPr>
              <a:t>texture</a:t>
            </a:r>
            <a:r>
              <a:rPr lang="nl-NL" sz="1600" dirty="0">
                <a:solidFill>
                  <a:schemeClr val="bg2">
                    <a:lumMod val="40000"/>
                    <a:lumOff val="60000"/>
                  </a:schemeClr>
                </a:solidFill>
              </a:rPr>
              <a:t> } </a:t>
            </a:r>
            <a:r>
              <a:rPr lang="nl-NL" sz="1600" dirty="0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);</a:t>
            </a:r>
          </a:p>
          <a:p>
            <a:endParaRPr lang="nl-NL" sz="1600" dirty="0" smtClean="0"/>
          </a:p>
          <a:p>
            <a:r>
              <a:rPr lang="nl-NL" sz="1600" dirty="0" err="1" smtClean="0"/>
              <a:t>Materials</a:t>
            </a:r>
            <a:r>
              <a:rPr lang="nl-NL" sz="1600" dirty="0" smtClean="0"/>
              <a:t> </a:t>
            </a:r>
            <a:r>
              <a:rPr lang="nl-NL" sz="1600" dirty="0" err="1" smtClean="0"/>
              <a:t>that</a:t>
            </a:r>
            <a:r>
              <a:rPr lang="nl-NL" sz="1600" dirty="0" smtClean="0"/>
              <a:t> </a:t>
            </a:r>
            <a:r>
              <a:rPr lang="nl-NL" sz="1600" dirty="0" err="1" smtClean="0"/>
              <a:t>absorb</a:t>
            </a:r>
            <a:r>
              <a:rPr lang="nl-NL" sz="1600" dirty="0" smtClean="0"/>
              <a:t>/</a:t>
            </a:r>
            <a:r>
              <a:rPr lang="nl-NL" sz="1600" dirty="0" err="1" smtClean="0"/>
              <a:t>reflect</a:t>
            </a:r>
            <a:r>
              <a:rPr lang="nl-NL" sz="1600" dirty="0" smtClean="0"/>
              <a:t> </a:t>
            </a:r>
            <a:r>
              <a:rPr lang="nl-NL" sz="1600" dirty="0" err="1" smtClean="0"/>
              <a:t>lights</a:t>
            </a:r>
            <a:r>
              <a:rPr lang="nl-NL" sz="1600" dirty="0" smtClean="0"/>
              <a:t> </a:t>
            </a:r>
            <a:r>
              <a:rPr lang="nl-NL" sz="1600" dirty="0" err="1" smtClean="0"/>
              <a:t>and</a:t>
            </a:r>
            <a:r>
              <a:rPr lang="nl-NL" sz="1600" dirty="0" smtClean="0"/>
              <a:t> </a:t>
            </a:r>
            <a:r>
              <a:rPr lang="nl-NL" sz="1600" dirty="0" err="1" smtClean="0"/>
              <a:t>shadows</a:t>
            </a:r>
            <a:endParaRPr lang="nl-NL" sz="1600" dirty="0" smtClean="0"/>
          </a:p>
          <a:p>
            <a:r>
              <a:rPr lang="nl-NL" sz="1600" dirty="0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	</a:t>
            </a:r>
            <a:r>
              <a:rPr lang="nl-NL" sz="1600" dirty="0" err="1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THREE.</a:t>
            </a:r>
            <a:r>
              <a:rPr lang="nl-NL" sz="1600" dirty="0" err="1" smtClean="0"/>
              <a:t>MeshPhongMaterial</a:t>
            </a:r>
            <a:r>
              <a:rPr lang="nl-NL" sz="1600" dirty="0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( { map: </a:t>
            </a:r>
            <a:r>
              <a:rPr lang="nl-NL" sz="1600" dirty="0" err="1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texture</a:t>
            </a:r>
            <a:r>
              <a:rPr lang="nl-NL" sz="1600" dirty="0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 } );</a:t>
            </a:r>
          </a:p>
          <a:p>
            <a:r>
              <a:rPr lang="nl-NL" sz="1600" dirty="0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	</a:t>
            </a:r>
            <a:r>
              <a:rPr lang="nl-NL" sz="1600" dirty="0" err="1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THREE.</a:t>
            </a:r>
            <a:r>
              <a:rPr lang="nl-NL" sz="1600" dirty="0" err="1" smtClean="0"/>
              <a:t>MeshLambertMaterial</a:t>
            </a:r>
            <a:r>
              <a:rPr lang="nl-NL" sz="1600" dirty="0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( { map: </a:t>
            </a:r>
            <a:r>
              <a:rPr lang="nl-NL" sz="1600" dirty="0" err="1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texture</a:t>
            </a:r>
            <a:r>
              <a:rPr lang="nl-NL" sz="1600" dirty="0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 } );</a:t>
            </a:r>
          </a:p>
          <a:p>
            <a:r>
              <a:rPr lang="nl-NL" sz="1600" dirty="0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	</a:t>
            </a:r>
            <a:r>
              <a:rPr lang="nl-NL" sz="1600" dirty="0" err="1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THREE.</a:t>
            </a:r>
            <a:r>
              <a:rPr lang="nl-NL" sz="1600" dirty="0" err="1" smtClean="0"/>
              <a:t>MeshStandardMaterial</a:t>
            </a:r>
            <a:r>
              <a:rPr lang="nl-NL" sz="1600" dirty="0" smtClean="0"/>
              <a:t> </a:t>
            </a:r>
            <a:r>
              <a:rPr lang="nl-NL" sz="1600" dirty="0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( { map: </a:t>
            </a:r>
            <a:r>
              <a:rPr lang="nl-NL" sz="1600" dirty="0" err="1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texture</a:t>
            </a:r>
            <a:r>
              <a:rPr lang="nl-NL" sz="1600" dirty="0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 } );</a:t>
            </a:r>
          </a:p>
        </p:txBody>
      </p:sp>
    </p:spTree>
    <p:extLst>
      <p:ext uri="{BB962C8B-B14F-4D97-AF65-F5344CB8AC3E}">
        <p14:creationId xmlns:p14="http://schemas.microsoft.com/office/powerpoint/2010/main" val="3263100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sz="1600" dirty="0" err="1" smtClean="0"/>
              <a:t>spotLight</a:t>
            </a:r>
            <a:r>
              <a:rPr lang="nl-NL" sz="1600" dirty="0" smtClean="0"/>
              <a:t> </a:t>
            </a:r>
            <a:r>
              <a:rPr lang="nl-NL" sz="1600" dirty="0"/>
              <a:t>= new </a:t>
            </a:r>
            <a:r>
              <a:rPr lang="nl-NL" sz="1600" dirty="0" err="1"/>
              <a:t>THREE.SpotLight</a:t>
            </a:r>
            <a:r>
              <a:rPr lang="nl-NL" sz="1600" dirty="0"/>
              <a:t>( 0xffffff );</a:t>
            </a:r>
          </a:p>
          <a:p>
            <a:r>
              <a:rPr lang="nl-NL" sz="1600" dirty="0" err="1" smtClean="0"/>
              <a:t>spotLight.position.set</a:t>
            </a:r>
            <a:r>
              <a:rPr lang="nl-NL" sz="1600" dirty="0"/>
              <a:t>( 10, 18, -10 );</a:t>
            </a:r>
          </a:p>
          <a:p>
            <a:r>
              <a:rPr lang="nl-NL" sz="1600" dirty="0" err="1" smtClean="0"/>
              <a:t>spotLight.castShadow</a:t>
            </a:r>
            <a:r>
              <a:rPr lang="nl-NL" sz="1600" dirty="0" smtClean="0"/>
              <a:t> </a:t>
            </a:r>
            <a:r>
              <a:rPr lang="nl-NL" sz="1600" dirty="0"/>
              <a:t>= </a:t>
            </a:r>
            <a:r>
              <a:rPr lang="nl-NL" sz="1600" dirty="0" err="1"/>
              <a:t>true</a:t>
            </a:r>
            <a:r>
              <a:rPr lang="nl-NL" sz="1600" dirty="0"/>
              <a:t>;</a:t>
            </a:r>
          </a:p>
          <a:p>
            <a:r>
              <a:rPr lang="nl-NL" sz="1600" dirty="0" err="1" smtClean="0"/>
              <a:t>spotLight.decay</a:t>
            </a:r>
            <a:r>
              <a:rPr lang="nl-NL" sz="1600" dirty="0" smtClean="0"/>
              <a:t> </a:t>
            </a:r>
            <a:r>
              <a:rPr lang="nl-NL" sz="1600" dirty="0"/>
              <a:t>= 2;</a:t>
            </a:r>
          </a:p>
          <a:p>
            <a:r>
              <a:rPr lang="nl-NL" sz="1600" dirty="0" err="1" smtClean="0"/>
              <a:t>spotLight.angle</a:t>
            </a:r>
            <a:r>
              <a:rPr lang="nl-NL" sz="1600" dirty="0" smtClean="0"/>
              <a:t> </a:t>
            </a:r>
            <a:r>
              <a:rPr lang="nl-NL" sz="1600" dirty="0"/>
              <a:t>= </a:t>
            </a:r>
            <a:r>
              <a:rPr lang="nl-NL" sz="1600" dirty="0" err="1"/>
              <a:t>Math.PI</a:t>
            </a:r>
            <a:r>
              <a:rPr lang="nl-NL" sz="1600" dirty="0"/>
              <a:t> / 8;</a:t>
            </a:r>
          </a:p>
          <a:p>
            <a:r>
              <a:rPr lang="nl-NL" sz="1600" dirty="0" err="1" smtClean="0"/>
              <a:t>spotLight.penumbra</a:t>
            </a:r>
            <a:r>
              <a:rPr lang="nl-NL" sz="1600" dirty="0" smtClean="0"/>
              <a:t> </a:t>
            </a:r>
            <a:r>
              <a:rPr lang="nl-NL" sz="1600" dirty="0"/>
              <a:t>= 0.5</a:t>
            </a:r>
            <a:r>
              <a:rPr lang="nl-NL" sz="1600" dirty="0" smtClean="0"/>
              <a:t>;</a:t>
            </a:r>
            <a:endParaRPr lang="nl-NL" sz="1600" dirty="0"/>
          </a:p>
          <a:p>
            <a:r>
              <a:rPr lang="nl-NL" sz="1600" dirty="0" err="1" smtClean="0"/>
              <a:t>spotLight.shadow.mapSize.width</a:t>
            </a:r>
            <a:r>
              <a:rPr lang="nl-NL" sz="1600" dirty="0" smtClean="0"/>
              <a:t> </a:t>
            </a:r>
            <a:r>
              <a:rPr lang="nl-NL" sz="1600" dirty="0"/>
              <a:t>= 1024;</a:t>
            </a:r>
          </a:p>
          <a:p>
            <a:r>
              <a:rPr lang="nl-NL" sz="1600" dirty="0" err="1" smtClean="0"/>
              <a:t>spotLight.shadow.mapSize.height</a:t>
            </a:r>
            <a:r>
              <a:rPr lang="nl-NL" sz="1600" dirty="0" smtClean="0"/>
              <a:t> </a:t>
            </a:r>
            <a:r>
              <a:rPr lang="nl-NL" sz="1600" dirty="0"/>
              <a:t>= 1024;</a:t>
            </a:r>
          </a:p>
          <a:p>
            <a:r>
              <a:rPr lang="nl-NL" sz="1600" dirty="0" err="1" smtClean="0"/>
              <a:t>spotLight.shadow.camera.near</a:t>
            </a:r>
            <a:r>
              <a:rPr lang="nl-NL" sz="1600" dirty="0" smtClean="0"/>
              <a:t> </a:t>
            </a:r>
            <a:r>
              <a:rPr lang="nl-NL" sz="1600" dirty="0"/>
              <a:t>= 1;</a:t>
            </a:r>
          </a:p>
          <a:p>
            <a:r>
              <a:rPr lang="nl-NL" sz="1600" dirty="0" err="1" smtClean="0"/>
              <a:t>spotLight.shadow.camera.far</a:t>
            </a:r>
            <a:r>
              <a:rPr lang="nl-NL" sz="1600" dirty="0" smtClean="0"/>
              <a:t> </a:t>
            </a:r>
            <a:r>
              <a:rPr lang="nl-NL" sz="1600" dirty="0"/>
              <a:t>= 4000;</a:t>
            </a:r>
          </a:p>
          <a:p>
            <a:r>
              <a:rPr lang="nl-NL" sz="1600" dirty="0" err="1" smtClean="0"/>
              <a:t>scene.add</a:t>
            </a:r>
            <a:r>
              <a:rPr lang="nl-NL" sz="1600" dirty="0"/>
              <a:t>( </a:t>
            </a:r>
            <a:r>
              <a:rPr lang="nl-NL" sz="1600" dirty="0" err="1"/>
              <a:t>spotLight</a:t>
            </a:r>
            <a:r>
              <a:rPr lang="nl-NL" sz="1600" dirty="0"/>
              <a:t> </a:t>
            </a:r>
            <a:r>
              <a:rPr lang="nl-NL" sz="1600" dirty="0" smtClean="0"/>
              <a:t>);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Step 4: </a:t>
            </a:r>
            <a:r>
              <a:rPr lang="nl-NL" dirty="0" err="1" smtClean="0"/>
              <a:t>lighting</a:t>
            </a:r>
            <a:r>
              <a:rPr lang="nl-NL" dirty="0" smtClean="0"/>
              <a:t>: spotlight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9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85555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98755fb961bcb85c763cf62196f86d8244fc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ING_PP_Template_16x9_ING_Me_Embedded">
  <a:themeElements>
    <a:clrScheme name="ING APRIL 2015">
      <a:dk1>
        <a:srgbClr val="333333"/>
      </a:dk1>
      <a:lt1>
        <a:sysClr val="window" lastClr="FFFFFF"/>
      </a:lt1>
      <a:dk2>
        <a:srgbClr val="FF6200"/>
      </a:dk2>
      <a:lt2>
        <a:srgbClr val="767676"/>
      </a:lt2>
      <a:accent1>
        <a:srgbClr val="FF6200"/>
      </a:accent1>
      <a:accent2>
        <a:srgbClr val="A8A8A8"/>
      </a:accent2>
      <a:accent3>
        <a:srgbClr val="525199"/>
      </a:accent3>
      <a:accent4>
        <a:srgbClr val="60A6DA"/>
      </a:accent4>
      <a:accent5>
        <a:srgbClr val="AB0066"/>
      </a:accent5>
      <a:accent6>
        <a:srgbClr val="D0D93C"/>
      </a:accent6>
      <a:hlink>
        <a:srgbClr val="525199"/>
      </a:hlink>
      <a:folHlink>
        <a:srgbClr val="AB0066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6200"/>
        </a:solidFill>
        <a:ln w="6350">
          <a:solidFill>
            <a:srgbClr val="FF6200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90000"/>
          </a:lnSpc>
          <a:defRPr sz="16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A8A8A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>
          <a:defRPr sz="140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ING_PP_Template_16x9_08042015.potx" id="{6D084BF0-9966-4FDC-A0E8-0296637E5E37}" vid="{40DDC393-4B6B-4664-98B0-883141C8FD4C}"/>
    </a:ext>
  </a:extLst>
</a:theme>
</file>

<file path=ppt/theme/theme2.xml><?xml version="1.0" encoding="utf-8"?>
<a:theme xmlns:a="http://schemas.openxmlformats.org/drawingml/2006/main" name="Mck - Think fwd - act now _ Wide">
  <a:themeElements>
    <a:clrScheme name="Current">
      <a:dk1>
        <a:srgbClr val="000000"/>
      </a:dk1>
      <a:lt1>
        <a:srgbClr val="FFFFFF"/>
      </a:lt1>
      <a:dk2>
        <a:srgbClr val="FF6600"/>
      </a:dk2>
      <a:lt2>
        <a:srgbClr val="E9EEF6"/>
      </a:lt2>
      <a:accent1>
        <a:srgbClr val="C5C5C5"/>
      </a:accent1>
      <a:accent2>
        <a:srgbClr val="FFA500"/>
      </a:accent2>
      <a:accent3>
        <a:srgbClr val="FF6600"/>
      </a:accent3>
      <a:accent4>
        <a:srgbClr val="000056"/>
      </a:accent4>
      <a:accent5>
        <a:srgbClr val="E75C00"/>
      </a:accent5>
      <a:accent6>
        <a:srgbClr val="808080"/>
      </a:accent6>
      <a:hlink>
        <a:srgbClr val="FFA500"/>
      </a:hlink>
      <a:folHlink>
        <a:srgbClr val="000056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F6600"/>
        </a:dk2>
        <a:lt2>
          <a:srgbClr val="E9EEF6"/>
        </a:lt2>
        <a:accent1>
          <a:srgbClr val="C5C5C5"/>
        </a:accent1>
        <a:accent2>
          <a:srgbClr val="FFA500"/>
        </a:accent2>
        <a:accent3>
          <a:srgbClr val="FF6600"/>
        </a:accent3>
        <a:accent4>
          <a:srgbClr val="000056"/>
        </a:accent4>
        <a:accent5>
          <a:srgbClr val="E75C00"/>
        </a:accent5>
        <a:accent6>
          <a:srgbClr val="808080"/>
        </a:accent6>
        <a:hlink>
          <a:srgbClr val="FFA500"/>
        </a:hlink>
        <a:folHlink>
          <a:srgbClr val="00005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ING_PP_Template_16x9_ING_Me_Embedded">
  <a:themeElements>
    <a:clrScheme name="ING APRIL 2015">
      <a:dk1>
        <a:srgbClr val="333333"/>
      </a:dk1>
      <a:lt1>
        <a:sysClr val="window" lastClr="FFFFFF"/>
      </a:lt1>
      <a:dk2>
        <a:srgbClr val="FF6200"/>
      </a:dk2>
      <a:lt2>
        <a:srgbClr val="767676"/>
      </a:lt2>
      <a:accent1>
        <a:srgbClr val="FF6200"/>
      </a:accent1>
      <a:accent2>
        <a:srgbClr val="A8A8A8"/>
      </a:accent2>
      <a:accent3>
        <a:srgbClr val="525199"/>
      </a:accent3>
      <a:accent4>
        <a:srgbClr val="60A6DA"/>
      </a:accent4>
      <a:accent5>
        <a:srgbClr val="AB0066"/>
      </a:accent5>
      <a:accent6>
        <a:srgbClr val="D0D93C"/>
      </a:accent6>
      <a:hlink>
        <a:srgbClr val="525199"/>
      </a:hlink>
      <a:folHlink>
        <a:srgbClr val="AB0066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6200"/>
        </a:solidFill>
        <a:ln w="6350">
          <a:solidFill>
            <a:srgbClr val="FF6200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90000"/>
          </a:lnSpc>
          <a:defRPr sz="16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A8A8A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>
          <a:defRPr sz="140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ING_PP_Template_16x9_08042015.potx" id="{6D084BF0-9966-4FDC-A0E8-0296637E5E37}" vid="{40DDC393-4B6B-4664-98B0-883141C8FD4C}"/>
    </a:ext>
  </a:extLst>
</a:theme>
</file>

<file path=ppt/theme/theme4.xml><?xml version="1.0" encoding="utf-8"?>
<a:theme xmlns:a="http://schemas.openxmlformats.org/drawingml/2006/main" name="1_Mck - Think fwd - act now _ Wide">
  <a:themeElements>
    <a:clrScheme name="Current">
      <a:dk1>
        <a:srgbClr val="000000"/>
      </a:dk1>
      <a:lt1>
        <a:srgbClr val="FFFFFF"/>
      </a:lt1>
      <a:dk2>
        <a:srgbClr val="FF6600"/>
      </a:dk2>
      <a:lt2>
        <a:srgbClr val="E9EEF6"/>
      </a:lt2>
      <a:accent1>
        <a:srgbClr val="C5C5C5"/>
      </a:accent1>
      <a:accent2>
        <a:srgbClr val="FFA500"/>
      </a:accent2>
      <a:accent3>
        <a:srgbClr val="FF6600"/>
      </a:accent3>
      <a:accent4>
        <a:srgbClr val="000056"/>
      </a:accent4>
      <a:accent5>
        <a:srgbClr val="E75C00"/>
      </a:accent5>
      <a:accent6>
        <a:srgbClr val="808080"/>
      </a:accent6>
      <a:hlink>
        <a:srgbClr val="FFA500"/>
      </a:hlink>
      <a:folHlink>
        <a:srgbClr val="000056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F6600"/>
        </a:dk2>
        <a:lt2>
          <a:srgbClr val="E9EEF6"/>
        </a:lt2>
        <a:accent1>
          <a:srgbClr val="C5C5C5"/>
        </a:accent1>
        <a:accent2>
          <a:srgbClr val="FFA500"/>
        </a:accent2>
        <a:accent3>
          <a:srgbClr val="FF6600"/>
        </a:accent3>
        <a:accent4>
          <a:srgbClr val="000056"/>
        </a:accent4>
        <a:accent5>
          <a:srgbClr val="E75C00"/>
        </a:accent5>
        <a:accent6>
          <a:srgbClr val="808080"/>
        </a:accent6>
        <a:hlink>
          <a:srgbClr val="FFA500"/>
        </a:hlink>
        <a:folHlink>
          <a:srgbClr val="00005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ING_PP_Template_16x9_ING_Me_Embedded">
  <a:themeElements>
    <a:clrScheme name="ING APRIL 2015">
      <a:dk1>
        <a:srgbClr val="333333"/>
      </a:dk1>
      <a:lt1>
        <a:sysClr val="window" lastClr="FFFFFF"/>
      </a:lt1>
      <a:dk2>
        <a:srgbClr val="FF6200"/>
      </a:dk2>
      <a:lt2>
        <a:srgbClr val="767676"/>
      </a:lt2>
      <a:accent1>
        <a:srgbClr val="FF6200"/>
      </a:accent1>
      <a:accent2>
        <a:srgbClr val="A8A8A8"/>
      </a:accent2>
      <a:accent3>
        <a:srgbClr val="525199"/>
      </a:accent3>
      <a:accent4>
        <a:srgbClr val="60A6DA"/>
      </a:accent4>
      <a:accent5>
        <a:srgbClr val="AB0066"/>
      </a:accent5>
      <a:accent6>
        <a:srgbClr val="D0D93C"/>
      </a:accent6>
      <a:hlink>
        <a:srgbClr val="525199"/>
      </a:hlink>
      <a:folHlink>
        <a:srgbClr val="AB0066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6200"/>
        </a:solidFill>
        <a:ln w="6350">
          <a:solidFill>
            <a:srgbClr val="FF6200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90000"/>
          </a:lnSpc>
          <a:defRPr sz="16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A8A8A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>
          <a:defRPr sz="140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ING_PP_Template_16x9_08042015.potx" id="{6D084BF0-9966-4FDC-A0E8-0296637E5E37}" vid="{40DDC393-4B6B-4664-98B0-883141C8FD4C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B945356526C2B43A2CE667CA8BF87BF" ma:contentTypeVersion="1" ma:contentTypeDescription="Create a new document." ma:contentTypeScope="" ma:versionID="fee854732b468a7a1ce22056fc36b7a7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a447206dab0015f8b9f8924535193e8c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BAD22DE-37A7-423E-B4CE-B51818BC1129}">
  <ds:schemaRefs>
    <ds:schemaRef ds:uri="http://schemas.microsoft.com/sharepoint/v3"/>
    <ds:schemaRef ds:uri="http://schemas.microsoft.com/office/infopath/2007/PartnerControls"/>
    <ds:schemaRef ds:uri="http://schemas.microsoft.com/office/2006/documentManagement/types"/>
    <ds:schemaRef ds:uri="http://purl.org/dc/dcmitype/"/>
    <ds:schemaRef ds:uri="http://purl.org/dc/terms/"/>
    <ds:schemaRef ds:uri="http://schemas.openxmlformats.org/package/2006/metadata/core-properties"/>
    <ds:schemaRef ds:uri="http://www.w3.org/XML/1998/namespace"/>
    <ds:schemaRef ds:uri="http://schemas.microsoft.com/office/2006/metadata/properties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2C84CDBF-5EAE-4640-B063-3824C655A9B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649D9FA-143E-418E-90EC-74A3CE19A3C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G_PP_Template_16x9_ING_Me_Embedded</Template>
  <TotalTime>0</TotalTime>
  <Words>433</Words>
  <Application>Microsoft Office PowerPoint</Application>
  <PresentationFormat>A4 Paper (210x297 mm)</PresentationFormat>
  <Paragraphs>187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5" baseType="lpstr">
      <vt:lpstr>Arial</vt:lpstr>
      <vt:lpstr>ＭＳ Ｐゴシック</vt:lpstr>
      <vt:lpstr>Arial Unicode MS</vt:lpstr>
      <vt:lpstr>ING Me</vt:lpstr>
      <vt:lpstr>Rockwell ING</vt:lpstr>
      <vt:lpstr>ING_PP_Template_16x9_ING_Me_Embedded</vt:lpstr>
      <vt:lpstr>Mck - Think fwd - act now _ Wide</vt:lpstr>
      <vt:lpstr>1_ING_PP_Template_16x9_ING_Me_Embedded</vt:lpstr>
      <vt:lpstr>1_Mck - Think fwd - act now _ Wide</vt:lpstr>
      <vt:lpstr>2_ING_PP_Template_16x9_ING_Me_Embedded</vt:lpstr>
      <vt:lpstr>think-cell Slide</vt:lpstr>
      <vt:lpstr>WebGL: Introductie</vt:lpstr>
      <vt:lpstr>Three JS</vt:lpstr>
      <vt:lpstr>Examples</vt:lpstr>
      <vt:lpstr>Scene en renderer</vt:lpstr>
      <vt:lpstr>Step 1: creating an object</vt:lpstr>
      <vt:lpstr>Step 2: adding textures</vt:lpstr>
      <vt:lpstr>Step 3: rotating and moving the object</vt:lpstr>
      <vt:lpstr>Step 4: lighting: ambient light</vt:lpstr>
      <vt:lpstr>Step 4: lighting: spotlight</vt:lpstr>
      <vt:lpstr>Step 4: lighting: spotlight</vt:lpstr>
      <vt:lpstr>Step 5: moving the camera</vt:lpstr>
      <vt:lpstr>Assignment: Make a moving vehicle</vt:lpstr>
      <vt:lpstr>Next time</vt:lpstr>
      <vt:lpstr>Resources &amp; Tutorials</vt:lpstr>
    </vt:vector>
  </TitlesOfParts>
  <Company>IN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Klopper, S.H. (Sander)</dc:creator>
  <cp:keywords>ING Me Embedded, Template 16x9</cp:keywords>
  <cp:lastModifiedBy>Weemaes, M. (Merlin)</cp:lastModifiedBy>
  <cp:revision>110</cp:revision>
  <dcterms:created xsi:type="dcterms:W3CDTF">2015-10-23T07:10:09Z</dcterms:created>
  <dcterms:modified xsi:type="dcterms:W3CDTF">2016-05-30T15:42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B945356526C2B43A2CE667CA8BF87BF</vt:lpwstr>
  </property>
</Properties>
</file>